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44"/>
  </p:notesMasterIdLst>
  <p:sldIdLst>
    <p:sldId id="256" r:id="rId2"/>
    <p:sldId id="535" r:id="rId3"/>
    <p:sldId id="513" r:id="rId4"/>
    <p:sldId id="541" r:id="rId5"/>
    <p:sldId id="492" r:id="rId6"/>
    <p:sldId id="548" r:id="rId7"/>
    <p:sldId id="598" r:id="rId8"/>
    <p:sldId id="556" r:id="rId9"/>
    <p:sldId id="542" r:id="rId10"/>
    <p:sldId id="496" r:id="rId11"/>
    <p:sldId id="530" r:id="rId12"/>
    <p:sldId id="581" r:id="rId13"/>
    <p:sldId id="687" r:id="rId14"/>
    <p:sldId id="626" r:id="rId15"/>
    <p:sldId id="680" r:id="rId16"/>
    <p:sldId id="670" r:id="rId17"/>
    <p:sldId id="549" r:id="rId18"/>
    <p:sldId id="628" r:id="rId19"/>
    <p:sldId id="627" r:id="rId20"/>
    <p:sldId id="629" r:id="rId21"/>
    <p:sldId id="631" r:id="rId22"/>
    <p:sldId id="630" r:id="rId23"/>
    <p:sldId id="681" r:id="rId24"/>
    <p:sldId id="682" r:id="rId25"/>
    <p:sldId id="683" r:id="rId26"/>
    <p:sldId id="684" r:id="rId27"/>
    <p:sldId id="622" r:id="rId28"/>
    <p:sldId id="607" r:id="rId29"/>
    <p:sldId id="633" r:id="rId30"/>
    <p:sldId id="608" r:id="rId31"/>
    <p:sldId id="609" r:id="rId32"/>
    <p:sldId id="686" r:id="rId33"/>
    <p:sldId id="685" r:id="rId34"/>
    <p:sldId id="688" r:id="rId35"/>
    <p:sldId id="689" r:id="rId36"/>
    <p:sldId id="528" r:id="rId37"/>
    <p:sldId id="565" r:id="rId38"/>
    <p:sldId id="529" r:id="rId39"/>
    <p:sldId id="618" r:id="rId40"/>
    <p:sldId id="617" r:id="rId41"/>
    <p:sldId id="604" r:id="rId42"/>
    <p:sldId id="552" r:id="rId43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90B8"/>
    <a:srgbClr val="969FA7"/>
    <a:srgbClr val="1A3260"/>
    <a:srgbClr val="66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291681-4A1D-447D-9C10-3102B3B07050}" v="273" dt="2025-11-04T04:07:12.4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4" autoAdjust="0"/>
    <p:restoredTop sz="90321" autoAdjust="0"/>
  </p:normalViewPr>
  <p:slideViewPr>
    <p:cSldViewPr snapToGrid="0">
      <p:cViewPr varScale="1">
        <p:scale>
          <a:sx n="67" d="100"/>
          <a:sy n="67" d="100"/>
        </p:scale>
        <p:origin x="68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ne-Goehler, Jennifer M.,MD, SCD" userId="49ad1595-1fab-43f1-84d2-48398eae49ea" providerId="ADAL" clId="{45291681-4A1D-447D-9C10-3102B3B07050}"/>
    <pc:docChg chg="undo custSel addSld delSld modSld sldOrd delMainMaster">
      <pc:chgData name="Manne-Goehler, Jennifer M.,MD, SCD" userId="49ad1595-1fab-43f1-84d2-48398eae49ea" providerId="ADAL" clId="{45291681-4A1D-447D-9C10-3102B3B07050}" dt="2025-11-04T04:09:34.524" v="2570" actId="20577"/>
      <pc:docMkLst>
        <pc:docMk/>
      </pc:docMkLst>
      <pc:sldChg chg="modSp mod">
        <pc:chgData name="Manne-Goehler, Jennifer M.,MD, SCD" userId="49ad1595-1fab-43f1-84d2-48398eae49ea" providerId="ADAL" clId="{45291681-4A1D-447D-9C10-3102B3B07050}" dt="2025-11-04T04:09:34.524" v="2570" actId="20577"/>
        <pc:sldMkLst>
          <pc:docMk/>
          <pc:sldMk cId="1376556563" sldId="256"/>
        </pc:sldMkLst>
        <pc:spChg chg="mod">
          <ac:chgData name="Manne-Goehler, Jennifer M.,MD, SCD" userId="49ad1595-1fab-43f1-84d2-48398eae49ea" providerId="ADAL" clId="{45291681-4A1D-447D-9C10-3102B3B07050}" dt="2025-11-04T04:09:34.524" v="2570" actId="20577"/>
          <ac:spMkLst>
            <pc:docMk/>
            <pc:sldMk cId="1376556563" sldId="256"/>
            <ac:spMk id="2" creationId="{D72BA3BF-65DD-4840-BD1C-FB95B15C0360}"/>
          </ac:spMkLst>
        </pc:spChg>
      </pc:sldChg>
      <pc:sldChg chg="del">
        <pc:chgData name="Manne-Goehler, Jennifer M.,MD, SCD" userId="49ad1595-1fab-43f1-84d2-48398eae49ea" providerId="ADAL" clId="{45291681-4A1D-447D-9C10-3102B3B07050}" dt="2025-11-04T02:54:35.761" v="1073" actId="47"/>
        <pc:sldMkLst>
          <pc:docMk/>
          <pc:sldMk cId="3153793541" sldId="257"/>
        </pc:sldMkLst>
      </pc:sldChg>
      <pc:sldChg chg="delSp modSp mod">
        <pc:chgData name="Manne-Goehler, Jennifer M.,MD, SCD" userId="49ad1595-1fab-43f1-84d2-48398eae49ea" providerId="ADAL" clId="{45291681-4A1D-447D-9C10-3102B3B07050}" dt="2025-11-04T04:02:17.189" v="2382" actId="20577"/>
        <pc:sldMkLst>
          <pc:docMk/>
          <pc:sldMk cId="3608309158" sldId="492"/>
        </pc:sldMkLst>
        <pc:spChg chg="del">
          <ac:chgData name="Manne-Goehler, Jennifer M.,MD, SCD" userId="49ad1595-1fab-43f1-84d2-48398eae49ea" providerId="ADAL" clId="{45291681-4A1D-447D-9C10-3102B3B07050}" dt="2025-11-04T02:03:12.975" v="729" actId="478"/>
          <ac:spMkLst>
            <pc:docMk/>
            <pc:sldMk cId="3608309158" sldId="492"/>
            <ac:spMk id="11" creationId="{6757EA2C-1083-7F1F-B7E5-5D5101AD40D2}"/>
          </ac:spMkLst>
        </pc:spChg>
        <pc:spChg chg="mod">
          <ac:chgData name="Manne-Goehler, Jennifer M.,MD, SCD" userId="49ad1595-1fab-43f1-84d2-48398eae49ea" providerId="ADAL" clId="{45291681-4A1D-447D-9C10-3102B3B07050}" dt="2025-11-04T04:02:17.189" v="2382" actId="20577"/>
          <ac:spMkLst>
            <pc:docMk/>
            <pc:sldMk cId="3608309158" sldId="492"/>
            <ac:spMk id="22" creationId="{ECC2114E-5D01-40C3-A362-C0FECD1A4309}"/>
          </ac:spMkLst>
        </pc:spChg>
        <pc:picChg chg="mod">
          <ac:chgData name="Manne-Goehler, Jennifer M.,MD, SCD" userId="49ad1595-1fab-43f1-84d2-48398eae49ea" providerId="ADAL" clId="{45291681-4A1D-447D-9C10-3102B3B07050}" dt="2025-11-04T02:03:20.918" v="732" actId="1076"/>
          <ac:picMkLst>
            <pc:docMk/>
            <pc:sldMk cId="3608309158" sldId="492"/>
            <ac:picMk id="3" creationId="{600583C7-839D-EAB5-9062-AB9870F1AE25}"/>
          </ac:picMkLst>
        </pc:picChg>
      </pc:sldChg>
      <pc:sldChg chg="ord">
        <pc:chgData name="Manne-Goehler, Jennifer M.,MD, SCD" userId="49ad1595-1fab-43f1-84d2-48398eae49ea" providerId="ADAL" clId="{45291681-4A1D-447D-9C10-3102B3B07050}" dt="2025-11-04T01:56:27.251" v="708"/>
        <pc:sldMkLst>
          <pc:docMk/>
          <pc:sldMk cId="2967337078" sldId="496"/>
        </pc:sldMkLst>
      </pc:sldChg>
      <pc:sldChg chg="modSp">
        <pc:chgData name="Manne-Goehler, Jennifer M.,MD, SCD" userId="49ad1595-1fab-43f1-84d2-48398eae49ea" providerId="ADAL" clId="{45291681-4A1D-447D-9C10-3102B3B07050}" dt="2025-11-04T03:13:23.149" v="1715" actId="20577"/>
        <pc:sldMkLst>
          <pc:docMk/>
          <pc:sldMk cId="2932697700" sldId="513"/>
        </pc:sldMkLst>
        <pc:graphicFrameChg chg="mod">
          <ac:chgData name="Manne-Goehler, Jennifer M.,MD, SCD" userId="49ad1595-1fab-43f1-84d2-48398eae49ea" providerId="ADAL" clId="{45291681-4A1D-447D-9C10-3102B3B07050}" dt="2025-11-04T03:13:23.149" v="1715" actId="20577"/>
          <ac:graphicFrameMkLst>
            <pc:docMk/>
            <pc:sldMk cId="2932697700" sldId="513"/>
            <ac:graphicFrameMk id="5" creationId="{409EA5C3-960F-45C5-9752-3E99B4E04D91}"/>
          </ac:graphicFrameMkLst>
        </pc:graphicFrameChg>
      </pc:sldChg>
      <pc:sldChg chg="modSp mod">
        <pc:chgData name="Manne-Goehler, Jennifer M.,MD, SCD" userId="49ad1595-1fab-43f1-84d2-48398eae49ea" providerId="ADAL" clId="{45291681-4A1D-447D-9C10-3102B3B07050}" dt="2025-11-04T04:04:13.021" v="2419" actId="20577"/>
        <pc:sldMkLst>
          <pc:docMk/>
          <pc:sldMk cId="71390967" sldId="528"/>
        </pc:sldMkLst>
        <pc:spChg chg="mod">
          <ac:chgData name="Manne-Goehler, Jennifer M.,MD, SCD" userId="49ad1595-1fab-43f1-84d2-48398eae49ea" providerId="ADAL" clId="{45291681-4A1D-447D-9C10-3102B3B07050}" dt="2025-11-04T04:04:13.021" v="2419" actId="20577"/>
          <ac:spMkLst>
            <pc:docMk/>
            <pc:sldMk cId="71390967" sldId="528"/>
            <ac:spMk id="6" creationId="{299CC4E0-5002-4F42-967B-FB460144364D}"/>
          </ac:spMkLst>
        </pc:spChg>
      </pc:sldChg>
      <pc:sldChg chg="modSp mod ord">
        <pc:chgData name="Manne-Goehler, Jennifer M.,MD, SCD" userId="49ad1595-1fab-43f1-84d2-48398eae49ea" providerId="ADAL" clId="{45291681-4A1D-447D-9C10-3102B3B07050}" dt="2025-11-04T03:59:08.689" v="2196" actId="20577"/>
        <pc:sldMkLst>
          <pc:docMk/>
          <pc:sldMk cId="2865672411" sldId="530"/>
        </pc:sldMkLst>
        <pc:spChg chg="mod">
          <ac:chgData name="Manne-Goehler, Jennifer M.,MD, SCD" userId="49ad1595-1fab-43f1-84d2-48398eae49ea" providerId="ADAL" clId="{45291681-4A1D-447D-9C10-3102B3B07050}" dt="2025-11-04T03:59:08.689" v="2196" actId="20577"/>
          <ac:spMkLst>
            <pc:docMk/>
            <pc:sldMk cId="2865672411" sldId="530"/>
            <ac:spMk id="11" creationId="{07ACC1D3-1702-661A-C2BC-3161A380829C}"/>
          </ac:spMkLst>
        </pc:spChg>
      </pc:sldChg>
      <pc:sldChg chg="modSp mod">
        <pc:chgData name="Manne-Goehler, Jennifer M.,MD, SCD" userId="49ad1595-1fab-43f1-84d2-48398eae49ea" providerId="ADAL" clId="{45291681-4A1D-447D-9C10-3102B3B07050}" dt="2025-11-04T01:47:19.544" v="530" actId="20577"/>
        <pc:sldMkLst>
          <pc:docMk/>
          <pc:sldMk cId="3740748654" sldId="535"/>
        </pc:sldMkLst>
        <pc:spChg chg="mod">
          <ac:chgData name="Manne-Goehler, Jennifer M.,MD, SCD" userId="49ad1595-1fab-43f1-84d2-48398eae49ea" providerId="ADAL" clId="{45291681-4A1D-447D-9C10-3102B3B07050}" dt="2025-11-04T01:47:19.544" v="530" actId="20577"/>
          <ac:spMkLst>
            <pc:docMk/>
            <pc:sldMk cId="3740748654" sldId="535"/>
            <ac:spMk id="8" creationId="{631304E2-18A4-CFCA-842E-6D29058B815B}"/>
          </ac:spMkLst>
        </pc:spChg>
      </pc:sldChg>
      <pc:sldChg chg="modSp mod">
        <pc:chgData name="Manne-Goehler, Jennifer M.,MD, SCD" userId="49ad1595-1fab-43f1-84d2-48398eae49ea" providerId="ADAL" clId="{45291681-4A1D-447D-9C10-3102B3B07050}" dt="2025-11-03T20:55:46.635" v="515" actId="20577"/>
        <pc:sldMkLst>
          <pc:docMk/>
          <pc:sldMk cId="2496510169" sldId="541"/>
        </pc:sldMkLst>
        <pc:spChg chg="mod">
          <ac:chgData name="Manne-Goehler, Jennifer M.,MD, SCD" userId="49ad1595-1fab-43f1-84d2-48398eae49ea" providerId="ADAL" clId="{45291681-4A1D-447D-9C10-3102B3B07050}" dt="2025-11-03T20:55:46.635" v="515" actId="20577"/>
          <ac:spMkLst>
            <pc:docMk/>
            <pc:sldMk cId="2496510169" sldId="541"/>
            <ac:spMk id="6" creationId="{299CC4E0-5002-4F42-967B-FB460144364D}"/>
          </ac:spMkLst>
        </pc:spChg>
      </pc:sldChg>
      <pc:sldChg chg="modSp mod">
        <pc:chgData name="Manne-Goehler, Jennifer M.,MD, SCD" userId="49ad1595-1fab-43f1-84d2-48398eae49ea" providerId="ADAL" clId="{45291681-4A1D-447D-9C10-3102B3B07050}" dt="2025-11-04T01:48:04.501" v="621" actId="20577"/>
        <pc:sldMkLst>
          <pc:docMk/>
          <pc:sldMk cId="2041267002" sldId="542"/>
        </pc:sldMkLst>
        <pc:spChg chg="mod">
          <ac:chgData name="Manne-Goehler, Jennifer M.,MD, SCD" userId="49ad1595-1fab-43f1-84d2-48398eae49ea" providerId="ADAL" clId="{45291681-4A1D-447D-9C10-3102B3B07050}" dt="2025-11-04T01:48:04.501" v="621" actId="20577"/>
          <ac:spMkLst>
            <pc:docMk/>
            <pc:sldMk cId="2041267002" sldId="542"/>
            <ac:spMk id="6" creationId="{299CC4E0-5002-4F42-967B-FB460144364D}"/>
          </ac:spMkLst>
        </pc:spChg>
      </pc:sldChg>
      <pc:sldChg chg="del">
        <pc:chgData name="Manne-Goehler, Jennifer M.,MD, SCD" userId="49ad1595-1fab-43f1-84d2-48398eae49ea" providerId="ADAL" clId="{45291681-4A1D-447D-9C10-3102B3B07050}" dt="2025-11-04T03:50:43.929" v="2151" actId="47"/>
        <pc:sldMkLst>
          <pc:docMk/>
          <pc:sldMk cId="3326603915" sldId="545"/>
        </pc:sldMkLst>
      </pc:sldChg>
      <pc:sldChg chg="modSp mod ord">
        <pc:chgData name="Manne-Goehler, Jennifer M.,MD, SCD" userId="49ad1595-1fab-43f1-84d2-48398eae49ea" providerId="ADAL" clId="{45291681-4A1D-447D-9C10-3102B3B07050}" dt="2025-11-04T04:02:21.589" v="2383" actId="20577"/>
        <pc:sldMkLst>
          <pc:docMk/>
          <pc:sldMk cId="205898698" sldId="548"/>
        </pc:sldMkLst>
        <pc:spChg chg="mod">
          <ac:chgData name="Manne-Goehler, Jennifer M.,MD, SCD" userId="49ad1595-1fab-43f1-84d2-48398eae49ea" providerId="ADAL" clId="{45291681-4A1D-447D-9C10-3102B3B07050}" dt="2025-11-04T04:02:21.589" v="2383" actId="20577"/>
          <ac:spMkLst>
            <pc:docMk/>
            <pc:sldMk cId="205898698" sldId="548"/>
            <ac:spMk id="22" creationId="{ECC2114E-5D01-40C3-A362-C0FECD1A4309}"/>
          </ac:spMkLst>
        </pc:spChg>
      </pc:sldChg>
      <pc:sldChg chg="addSp delSp modSp mod">
        <pc:chgData name="Manne-Goehler, Jennifer M.,MD, SCD" userId="49ad1595-1fab-43f1-84d2-48398eae49ea" providerId="ADAL" clId="{45291681-4A1D-447D-9C10-3102B3B07050}" dt="2025-11-04T02:43:09.649" v="905" actId="1076"/>
        <pc:sldMkLst>
          <pc:docMk/>
          <pc:sldMk cId="2746785566" sldId="549"/>
        </pc:sldMkLst>
        <pc:spChg chg="del">
          <ac:chgData name="Manne-Goehler, Jennifer M.,MD, SCD" userId="49ad1595-1fab-43f1-84d2-48398eae49ea" providerId="ADAL" clId="{45291681-4A1D-447D-9C10-3102B3B07050}" dt="2025-11-04T01:55:49.182" v="700" actId="478"/>
          <ac:spMkLst>
            <pc:docMk/>
            <pc:sldMk cId="2746785566" sldId="549"/>
            <ac:spMk id="7" creationId="{5B621ACD-B7AF-4E65-BA37-5C72FBB7D2D0}"/>
          </ac:spMkLst>
        </pc:spChg>
        <pc:spChg chg="del">
          <ac:chgData name="Manne-Goehler, Jennifer M.,MD, SCD" userId="49ad1595-1fab-43f1-84d2-48398eae49ea" providerId="ADAL" clId="{45291681-4A1D-447D-9C10-3102B3B07050}" dt="2025-11-04T01:55:49.182" v="700" actId="478"/>
          <ac:spMkLst>
            <pc:docMk/>
            <pc:sldMk cId="2746785566" sldId="549"/>
            <ac:spMk id="8" creationId="{055C5624-655A-1352-1E17-A2F6C70A4140}"/>
          </ac:spMkLst>
        </pc:spChg>
        <pc:spChg chg="del">
          <ac:chgData name="Manne-Goehler, Jennifer M.,MD, SCD" userId="49ad1595-1fab-43f1-84d2-48398eae49ea" providerId="ADAL" clId="{45291681-4A1D-447D-9C10-3102B3B07050}" dt="2025-11-04T01:55:49.182" v="700" actId="478"/>
          <ac:spMkLst>
            <pc:docMk/>
            <pc:sldMk cId="2746785566" sldId="549"/>
            <ac:spMk id="9" creationId="{1725BC2E-0E67-81B6-9024-0B61DAF6D46F}"/>
          </ac:spMkLst>
        </pc:spChg>
        <pc:spChg chg="mod">
          <ac:chgData name="Manne-Goehler, Jennifer M.,MD, SCD" userId="49ad1595-1fab-43f1-84d2-48398eae49ea" providerId="ADAL" clId="{45291681-4A1D-447D-9C10-3102B3B07050}" dt="2025-11-04T02:41:57.540" v="894" actId="1076"/>
          <ac:spMkLst>
            <pc:docMk/>
            <pc:sldMk cId="2746785566" sldId="549"/>
            <ac:spMk id="10" creationId="{6D39A026-940B-26CC-56B7-2FAD89648852}"/>
          </ac:spMkLst>
        </pc:spChg>
        <pc:spChg chg="del">
          <ac:chgData name="Manne-Goehler, Jennifer M.,MD, SCD" userId="49ad1595-1fab-43f1-84d2-48398eae49ea" providerId="ADAL" clId="{45291681-4A1D-447D-9C10-3102B3B07050}" dt="2025-11-04T01:55:49.182" v="700" actId="478"/>
          <ac:spMkLst>
            <pc:docMk/>
            <pc:sldMk cId="2746785566" sldId="549"/>
            <ac:spMk id="12" creationId="{FAC3C4DA-9C93-23A0-2D7B-41E2A041E366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13" creationId="{F5B25638-B3D3-CE19-1138-56EAA1E9AD19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19" creationId="{61C0EA68-210D-E131-2E2D-415B4E025E19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20" creationId="{B713D7A8-788E-2B34-1C8E-E88C481B4990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21" creationId="{A13209BE-95E1-CF8D-FB84-F064865F9C28}"/>
          </ac:spMkLst>
        </pc:spChg>
        <pc:spChg chg="mod">
          <ac:chgData name="Manne-Goehler, Jennifer M.,MD, SCD" userId="49ad1595-1fab-43f1-84d2-48398eae49ea" providerId="ADAL" clId="{45291681-4A1D-447D-9C10-3102B3B07050}" dt="2025-11-04T02:41:39.966" v="890" actId="20577"/>
          <ac:spMkLst>
            <pc:docMk/>
            <pc:sldMk cId="2746785566" sldId="549"/>
            <ac:spMk id="22" creationId="{ECC2114E-5D01-40C3-A362-C0FECD1A4309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24" creationId="{04BCA0D5-2687-C118-486E-08281B2CF02E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25" creationId="{01768C79-145F-F1F1-F669-8E79399DDEB3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26" creationId="{F874EEE7-3E67-28EF-968B-DD0681FD45A8}"/>
          </ac:spMkLst>
        </pc:spChg>
        <pc:spChg chg="del">
          <ac:chgData name="Manne-Goehler, Jennifer M.,MD, SCD" userId="49ad1595-1fab-43f1-84d2-48398eae49ea" providerId="ADAL" clId="{45291681-4A1D-447D-9C10-3102B3B07050}" dt="2025-11-04T01:55:49.182" v="700" actId="478"/>
          <ac:spMkLst>
            <pc:docMk/>
            <pc:sldMk cId="2746785566" sldId="549"/>
            <ac:spMk id="27" creationId="{00000000-0000-0000-0000-000000000000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30" creationId="{7EAF4EE2-D2A2-F78F-57B5-8369D314EF59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31" creationId="{F24FD242-2A67-719E-D37D-3599BB8B8028}"/>
          </ac:spMkLst>
        </pc:spChg>
        <pc:spChg chg="add mod">
          <ac:chgData name="Manne-Goehler, Jennifer M.,MD, SCD" userId="49ad1595-1fab-43f1-84d2-48398eae49ea" providerId="ADAL" clId="{45291681-4A1D-447D-9C10-3102B3B07050}" dt="2025-11-04T02:43:05.995" v="904" actId="1076"/>
          <ac:spMkLst>
            <pc:docMk/>
            <pc:sldMk cId="2746785566" sldId="549"/>
            <ac:spMk id="33" creationId="{7089FF4D-CC3D-22FD-3645-84DA2F226EBE}"/>
          </ac:spMkLst>
        </pc:spChg>
        <pc:grpChg chg="del">
          <ac:chgData name="Manne-Goehler, Jennifer M.,MD, SCD" userId="49ad1595-1fab-43f1-84d2-48398eae49ea" providerId="ADAL" clId="{45291681-4A1D-447D-9C10-3102B3B07050}" dt="2025-11-04T01:55:44.760" v="699" actId="478"/>
          <ac:grpSpMkLst>
            <pc:docMk/>
            <pc:sldMk cId="2746785566" sldId="549"/>
            <ac:grpSpMk id="2" creationId="{6EBEAB00-16C9-77C2-377E-2BB2EF9A586F}"/>
          </ac:grpSpMkLst>
        </pc:grpChg>
        <pc:picChg chg="add mod">
          <ac:chgData name="Manne-Goehler, Jennifer M.,MD, SCD" userId="49ad1595-1fab-43f1-84d2-48398eae49ea" providerId="ADAL" clId="{45291681-4A1D-447D-9C10-3102B3B07050}" dt="2025-11-04T02:43:09.649" v="905" actId="1076"/>
          <ac:picMkLst>
            <pc:docMk/>
            <pc:sldMk cId="2746785566" sldId="549"/>
            <ac:picMk id="34" creationId="{99D0EDA3-00A5-825D-FBBE-8CE677E9CE51}"/>
          </ac:picMkLst>
        </pc:picChg>
        <pc:cxnChg chg="del">
          <ac:chgData name="Manne-Goehler, Jennifer M.,MD, SCD" userId="49ad1595-1fab-43f1-84d2-48398eae49ea" providerId="ADAL" clId="{45291681-4A1D-447D-9C10-3102B3B07050}" dt="2025-11-04T01:55:49.182" v="700" actId="478"/>
          <ac:cxnSpMkLst>
            <pc:docMk/>
            <pc:sldMk cId="2746785566" sldId="549"/>
            <ac:cxnSpMk id="11" creationId="{6A7A799F-2010-9ACD-D918-1C575DB670D3}"/>
          </ac:cxnSpMkLst>
        </pc:cxnChg>
        <pc:cxnChg chg="del">
          <ac:chgData name="Manne-Goehler, Jennifer M.,MD, SCD" userId="49ad1595-1fab-43f1-84d2-48398eae49ea" providerId="ADAL" clId="{45291681-4A1D-447D-9C10-3102B3B07050}" dt="2025-11-04T01:55:49.182" v="700" actId="478"/>
          <ac:cxnSpMkLst>
            <pc:docMk/>
            <pc:sldMk cId="2746785566" sldId="549"/>
            <ac:cxnSpMk id="14" creationId="{07D2C775-D0AC-D8F9-910A-2C776A7F93E6}"/>
          </ac:cxnSpMkLst>
        </pc:cxnChg>
        <pc:cxnChg chg="del">
          <ac:chgData name="Manne-Goehler, Jennifer M.,MD, SCD" userId="49ad1595-1fab-43f1-84d2-48398eae49ea" providerId="ADAL" clId="{45291681-4A1D-447D-9C10-3102B3B07050}" dt="2025-11-04T01:55:49.182" v="700" actId="478"/>
          <ac:cxnSpMkLst>
            <pc:docMk/>
            <pc:sldMk cId="2746785566" sldId="549"/>
            <ac:cxnSpMk id="16" creationId="{57A2D328-6239-1DD2-20FB-28E521F3A938}"/>
          </ac:cxnSpMkLst>
        </pc:cxnChg>
        <pc:cxnChg chg="del">
          <ac:chgData name="Manne-Goehler, Jennifer M.,MD, SCD" userId="49ad1595-1fab-43f1-84d2-48398eae49ea" providerId="ADAL" clId="{45291681-4A1D-447D-9C10-3102B3B07050}" dt="2025-11-04T01:55:49.182" v="700" actId="478"/>
          <ac:cxnSpMkLst>
            <pc:docMk/>
            <pc:sldMk cId="2746785566" sldId="549"/>
            <ac:cxnSpMk id="17" creationId="{CD4C997A-9C7D-804E-4252-C44E47F7A313}"/>
          </ac:cxnSpMkLst>
        </pc:cxnChg>
      </pc:sldChg>
      <pc:sldChg chg="add del ord">
        <pc:chgData name="Manne-Goehler, Jennifer M.,MD, SCD" userId="49ad1595-1fab-43f1-84d2-48398eae49ea" providerId="ADAL" clId="{45291681-4A1D-447D-9C10-3102B3B07050}" dt="2025-11-04T02:02:23.854" v="715"/>
        <pc:sldMkLst>
          <pc:docMk/>
          <pc:sldMk cId="958738552" sldId="552"/>
        </pc:sldMkLst>
      </pc:sldChg>
      <pc:sldChg chg="addSp delSp modSp mod">
        <pc:chgData name="Manne-Goehler, Jennifer M.,MD, SCD" userId="49ad1595-1fab-43f1-84d2-48398eae49ea" providerId="ADAL" clId="{45291681-4A1D-447D-9C10-3102B3B07050}" dt="2025-11-04T03:46:28.341" v="2142" actId="5793"/>
        <pc:sldMkLst>
          <pc:docMk/>
          <pc:sldMk cId="2094947588" sldId="556"/>
        </pc:sldMkLst>
        <pc:spChg chg="mod">
          <ac:chgData name="Manne-Goehler, Jennifer M.,MD, SCD" userId="49ad1595-1fab-43f1-84d2-48398eae49ea" providerId="ADAL" clId="{45291681-4A1D-447D-9C10-3102B3B07050}" dt="2025-11-04T03:46:28.341" v="2142" actId="5793"/>
          <ac:spMkLst>
            <pc:docMk/>
            <pc:sldMk cId="2094947588" sldId="556"/>
            <ac:spMk id="11" creationId="{6757EA2C-1083-7F1F-B7E5-5D5101AD40D2}"/>
          </ac:spMkLst>
        </pc:spChg>
        <pc:spChg chg="mod">
          <ac:chgData name="Manne-Goehler, Jennifer M.,MD, SCD" userId="49ad1595-1fab-43f1-84d2-48398eae49ea" providerId="ADAL" clId="{45291681-4A1D-447D-9C10-3102B3B07050}" dt="2025-11-04T02:05:44.366" v="759" actId="20577"/>
          <ac:spMkLst>
            <pc:docMk/>
            <pc:sldMk cId="2094947588" sldId="556"/>
            <ac:spMk id="22" creationId="{ECC2114E-5D01-40C3-A362-C0FECD1A4309}"/>
          </ac:spMkLst>
        </pc:spChg>
        <pc:picChg chg="add del mod">
          <ac:chgData name="Manne-Goehler, Jennifer M.,MD, SCD" userId="49ad1595-1fab-43f1-84d2-48398eae49ea" providerId="ADAL" clId="{45291681-4A1D-447D-9C10-3102B3B07050}" dt="2025-11-04T02:05:27.428" v="751" actId="1076"/>
          <ac:picMkLst>
            <pc:docMk/>
            <pc:sldMk cId="2094947588" sldId="556"/>
            <ac:picMk id="2050" creationId="{00000000-0000-0000-0000-000000000000}"/>
          </ac:picMkLst>
        </pc:picChg>
      </pc:sldChg>
      <pc:sldChg chg="del ord">
        <pc:chgData name="Manne-Goehler, Jennifer M.,MD, SCD" userId="49ad1595-1fab-43f1-84d2-48398eae49ea" providerId="ADAL" clId="{45291681-4A1D-447D-9C10-3102B3B07050}" dt="2025-11-04T03:50:42.078" v="2150" actId="47"/>
        <pc:sldMkLst>
          <pc:docMk/>
          <pc:sldMk cId="1642673395" sldId="557"/>
        </pc:sldMkLst>
      </pc:sldChg>
      <pc:sldChg chg="del">
        <pc:chgData name="Manne-Goehler, Jennifer M.,MD, SCD" userId="49ad1595-1fab-43f1-84d2-48398eae49ea" providerId="ADAL" clId="{45291681-4A1D-447D-9C10-3102B3B07050}" dt="2025-11-03T20:56:14.487" v="516" actId="47"/>
        <pc:sldMkLst>
          <pc:docMk/>
          <pc:sldMk cId="112906336" sldId="563"/>
        </pc:sldMkLst>
      </pc:sldChg>
      <pc:sldChg chg="modSp mod">
        <pc:chgData name="Manne-Goehler, Jennifer M.,MD, SCD" userId="49ad1595-1fab-43f1-84d2-48398eae49ea" providerId="ADAL" clId="{45291681-4A1D-447D-9C10-3102B3B07050}" dt="2025-11-04T03:55:45.478" v="2179" actId="1076"/>
        <pc:sldMkLst>
          <pc:docMk/>
          <pc:sldMk cId="459970274" sldId="565"/>
        </pc:sldMkLst>
        <pc:spChg chg="mod">
          <ac:chgData name="Manne-Goehler, Jennifer M.,MD, SCD" userId="49ad1595-1fab-43f1-84d2-48398eae49ea" providerId="ADAL" clId="{45291681-4A1D-447D-9C10-3102B3B07050}" dt="2025-11-04T03:55:45.478" v="2179" actId="1076"/>
          <ac:spMkLst>
            <pc:docMk/>
            <pc:sldMk cId="459970274" sldId="565"/>
            <ac:spMk id="2" creationId="{743E05F6-B36D-9EF2-9677-9E0DA6DFA333}"/>
          </ac:spMkLst>
        </pc:spChg>
      </pc:sldChg>
      <pc:sldChg chg="del">
        <pc:chgData name="Manne-Goehler, Jennifer M.,MD, SCD" userId="49ad1595-1fab-43f1-84d2-48398eae49ea" providerId="ADAL" clId="{45291681-4A1D-447D-9C10-3102B3B07050}" dt="2025-11-04T02:54:41.396" v="1075" actId="47"/>
        <pc:sldMkLst>
          <pc:docMk/>
          <pc:sldMk cId="3184478825" sldId="569"/>
        </pc:sldMkLst>
      </pc:sldChg>
      <pc:sldChg chg="modSp mod ord">
        <pc:chgData name="Manne-Goehler, Jennifer M.,MD, SCD" userId="49ad1595-1fab-43f1-84d2-48398eae49ea" providerId="ADAL" clId="{45291681-4A1D-447D-9C10-3102B3B07050}" dt="2025-11-04T03:59:24.945" v="2252" actId="20577"/>
        <pc:sldMkLst>
          <pc:docMk/>
          <pc:sldMk cId="3159593822" sldId="581"/>
        </pc:sldMkLst>
        <pc:spChg chg="mod">
          <ac:chgData name="Manne-Goehler, Jennifer M.,MD, SCD" userId="49ad1595-1fab-43f1-84d2-48398eae49ea" providerId="ADAL" clId="{45291681-4A1D-447D-9C10-3102B3B07050}" dt="2025-11-04T03:59:24.945" v="2252" actId="20577"/>
          <ac:spMkLst>
            <pc:docMk/>
            <pc:sldMk cId="3159593822" sldId="581"/>
            <ac:spMk id="4" creationId="{84D13A8F-4E44-A557-ACC0-DF657FF5ADB3}"/>
          </ac:spMkLst>
        </pc:spChg>
      </pc:sldChg>
      <pc:sldChg chg="del ord">
        <pc:chgData name="Manne-Goehler, Jennifer M.,MD, SCD" userId="49ad1595-1fab-43f1-84d2-48398eae49ea" providerId="ADAL" clId="{45291681-4A1D-447D-9C10-3102B3B07050}" dt="2025-11-04T03:08:56.294" v="1385" actId="47"/>
        <pc:sldMkLst>
          <pc:docMk/>
          <pc:sldMk cId="2200102909" sldId="583"/>
        </pc:sldMkLst>
      </pc:sldChg>
      <pc:sldChg chg="del">
        <pc:chgData name="Manne-Goehler, Jennifer M.,MD, SCD" userId="49ad1595-1fab-43f1-84d2-48398eae49ea" providerId="ADAL" clId="{45291681-4A1D-447D-9C10-3102B3B07050}" dt="2025-11-04T02:02:33.404" v="716" actId="47"/>
        <pc:sldMkLst>
          <pc:docMk/>
          <pc:sldMk cId="1864326419" sldId="591"/>
        </pc:sldMkLst>
      </pc:sldChg>
      <pc:sldChg chg="del">
        <pc:chgData name="Manne-Goehler, Jennifer M.,MD, SCD" userId="49ad1595-1fab-43f1-84d2-48398eae49ea" providerId="ADAL" clId="{45291681-4A1D-447D-9C10-3102B3B07050}" dt="2025-11-04T01:56:38.393" v="711" actId="47"/>
        <pc:sldMkLst>
          <pc:docMk/>
          <pc:sldMk cId="10363989" sldId="592"/>
        </pc:sldMkLst>
      </pc:sldChg>
      <pc:sldChg chg="addSp delSp modSp mod modNotesTx">
        <pc:chgData name="Manne-Goehler, Jennifer M.,MD, SCD" userId="49ad1595-1fab-43f1-84d2-48398eae49ea" providerId="ADAL" clId="{45291681-4A1D-447D-9C10-3102B3B07050}" dt="2025-11-04T02:02:55.843" v="728" actId="1076"/>
        <pc:sldMkLst>
          <pc:docMk/>
          <pc:sldMk cId="293074704" sldId="598"/>
        </pc:sldMkLst>
        <pc:spChg chg="del">
          <ac:chgData name="Manne-Goehler, Jennifer M.,MD, SCD" userId="49ad1595-1fab-43f1-84d2-48398eae49ea" providerId="ADAL" clId="{45291681-4A1D-447D-9C10-3102B3B07050}" dt="2025-11-04T01:50:20.063" v="627" actId="478"/>
          <ac:spMkLst>
            <pc:docMk/>
            <pc:sldMk cId="293074704" sldId="598"/>
            <ac:spMk id="9" creationId="{D74F2BE7-1BD5-FBE3-A97C-EF0E72FDF115}"/>
          </ac:spMkLst>
        </pc:spChg>
        <pc:spChg chg="mod">
          <ac:chgData name="Manne-Goehler, Jennifer M.,MD, SCD" userId="49ad1595-1fab-43f1-84d2-48398eae49ea" providerId="ADAL" clId="{45291681-4A1D-447D-9C10-3102B3B07050}" dt="2025-11-04T01:50:48.449" v="696" actId="20577"/>
          <ac:spMkLst>
            <pc:docMk/>
            <pc:sldMk cId="293074704" sldId="598"/>
            <ac:spMk id="10" creationId="{00000000-0000-0000-0000-000000000000}"/>
          </ac:spMkLst>
        </pc:spChg>
        <pc:spChg chg="del">
          <ac:chgData name="Manne-Goehler, Jennifer M.,MD, SCD" userId="49ad1595-1fab-43f1-84d2-48398eae49ea" providerId="ADAL" clId="{45291681-4A1D-447D-9C10-3102B3B07050}" dt="2025-11-04T01:50:24.035" v="628" actId="478"/>
          <ac:spMkLst>
            <pc:docMk/>
            <pc:sldMk cId="293074704" sldId="598"/>
            <ac:spMk id="11" creationId="{6757EA2C-1083-7F1F-B7E5-5D5101AD40D2}"/>
          </ac:spMkLst>
        </pc:spChg>
        <pc:spChg chg="del">
          <ac:chgData name="Manne-Goehler, Jennifer M.,MD, SCD" userId="49ad1595-1fab-43f1-84d2-48398eae49ea" providerId="ADAL" clId="{45291681-4A1D-447D-9C10-3102B3B07050}" dt="2025-11-04T01:50:18.627" v="626" actId="478"/>
          <ac:spMkLst>
            <pc:docMk/>
            <pc:sldMk cId="293074704" sldId="598"/>
            <ac:spMk id="12" creationId="{844CEF61-9E07-8C64-B361-2913FC553B87}"/>
          </ac:spMkLst>
        </pc:spChg>
        <pc:spChg chg="mod">
          <ac:chgData name="Manne-Goehler, Jennifer M.,MD, SCD" userId="49ad1595-1fab-43f1-84d2-48398eae49ea" providerId="ADAL" clId="{45291681-4A1D-447D-9C10-3102B3B07050}" dt="2025-11-04T01:50:38.546" v="653" actId="20577"/>
          <ac:spMkLst>
            <pc:docMk/>
            <pc:sldMk cId="293074704" sldId="598"/>
            <ac:spMk id="22" creationId="{ECC2114E-5D01-40C3-A362-C0FECD1A4309}"/>
          </ac:spMkLst>
        </pc:spChg>
        <pc:picChg chg="add del mod">
          <ac:chgData name="Manne-Goehler, Jennifer M.,MD, SCD" userId="49ad1595-1fab-43f1-84d2-48398eae49ea" providerId="ADAL" clId="{45291681-4A1D-447D-9C10-3102B3B07050}" dt="2025-11-04T01:56:11.211" v="703" actId="478"/>
          <ac:picMkLst>
            <pc:docMk/>
            <pc:sldMk cId="293074704" sldId="598"/>
            <ac:picMk id="2" creationId="{AD11C2B8-BF9F-80C0-FD47-9B4C0C06F0EB}"/>
          </ac:picMkLst>
        </pc:picChg>
        <pc:picChg chg="add mod">
          <ac:chgData name="Manne-Goehler, Jennifer M.,MD, SCD" userId="49ad1595-1fab-43f1-84d2-48398eae49ea" providerId="ADAL" clId="{45291681-4A1D-447D-9C10-3102B3B07050}" dt="2025-11-04T02:02:55.843" v="728" actId="1076"/>
          <ac:picMkLst>
            <pc:docMk/>
            <pc:sldMk cId="293074704" sldId="598"/>
            <ac:picMk id="3" creationId="{987BB327-AA50-7F25-AC07-65DAB31016C3}"/>
          </ac:picMkLst>
        </pc:picChg>
        <pc:picChg chg="del">
          <ac:chgData name="Manne-Goehler, Jennifer M.,MD, SCD" userId="49ad1595-1fab-43f1-84d2-48398eae49ea" providerId="ADAL" clId="{45291681-4A1D-447D-9C10-3102B3B07050}" dt="2025-11-04T01:50:15.159" v="625" actId="478"/>
          <ac:picMkLst>
            <pc:docMk/>
            <pc:sldMk cId="293074704" sldId="598"/>
            <ac:picMk id="6" creationId="{73EEEA0F-DF75-B649-ED47-B760ED53E6C8}"/>
          </ac:picMkLst>
        </pc:picChg>
        <pc:picChg chg="del">
          <ac:chgData name="Manne-Goehler, Jennifer M.,MD, SCD" userId="49ad1595-1fab-43f1-84d2-48398eae49ea" providerId="ADAL" clId="{45291681-4A1D-447D-9C10-3102B3B07050}" dt="2025-11-04T01:50:13.670" v="624" actId="478"/>
          <ac:picMkLst>
            <pc:docMk/>
            <pc:sldMk cId="293074704" sldId="598"/>
            <ac:picMk id="15" creationId="{1B06FF90-627E-6444-C4B7-82B2DBE980B6}"/>
          </ac:picMkLst>
        </pc:picChg>
      </pc:sldChg>
      <pc:sldChg chg="ord">
        <pc:chgData name="Manne-Goehler, Jennifer M.,MD, SCD" userId="49ad1595-1fab-43f1-84d2-48398eae49ea" providerId="ADAL" clId="{45291681-4A1D-447D-9C10-3102B3B07050}" dt="2025-11-04T02:02:23.854" v="715"/>
        <pc:sldMkLst>
          <pc:docMk/>
          <pc:sldMk cId="3059746995" sldId="604"/>
        </pc:sldMkLst>
      </pc:sldChg>
      <pc:sldChg chg="addSp delSp modSp del mod">
        <pc:chgData name="Manne-Goehler, Jennifer M.,MD, SCD" userId="49ad1595-1fab-43f1-84d2-48398eae49ea" providerId="ADAL" clId="{45291681-4A1D-447D-9C10-3102B3B07050}" dt="2025-11-04T02:24:40.220" v="798" actId="47"/>
        <pc:sldMkLst>
          <pc:docMk/>
          <pc:sldMk cId="1670993404" sldId="605"/>
        </pc:sldMkLst>
        <pc:spChg chg="del">
          <ac:chgData name="Manne-Goehler, Jennifer M.,MD, SCD" userId="49ad1595-1fab-43f1-84d2-48398eae49ea" providerId="ADAL" clId="{45291681-4A1D-447D-9C10-3102B3B07050}" dt="2025-11-04T01:55:39.499" v="698" actId="478"/>
          <ac:spMkLst>
            <pc:docMk/>
            <pc:sldMk cId="1670993404" sldId="605"/>
            <ac:spMk id="7" creationId="{5B621ACD-B7AF-4E65-BA37-5C72FBB7D2D0}"/>
          </ac:spMkLst>
        </pc:spChg>
        <pc:spChg chg="del">
          <ac:chgData name="Manne-Goehler, Jennifer M.,MD, SCD" userId="49ad1595-1fab-43f1-84d2-48398eae49ea" providerId="ADAL" clId="{45291681-4A1D-447D-9C10-3102B3B07050}" dt="2025-11-04T01:55:39.499" v="698" actId="478"/>
          <ac:spMkLst>
            <pc:docMk/>
            <pc:sldMk cId="1670993404" sldId="605"/>
            <ac:spMk id="9" creationId="{1725BC2E-0E67-81B6-9024-0B61DAF6D46F}"/>
          </ac:spMkLst>
        </pc:spChg>
        <pc:spChg chg="del">
          <ac:chgData name="Manne-Goehler, Jennifer M.,MD, SCD" userId="49ad1595-1fab-43f1-84d2-48398eae49ea" providerId="ADAL" clId="{45291681-4A1D-447D-9C10-3102B3B07050}" dt="2025-11-04T01:55:39.499" v="698" actId="478"/>
          <ac:spMkLst>
            <pc:docMk/>
            <pc:sldMk cId="1670993404" sldId="605"/>
            <ac:spMk id="10" creationId="{F59A2C84-013A-F89F-756E-6F4B25EB3C17}"/>
          </ac:spMkLst>
        </pc:spChg>
        <pc:spChg chg="add mod">
          <ac:chgData name="Manne-Goehler, Jennifer M.,MD, SCD" userId="49ad1595-1fab-43f1-84d2-48398eae49ea" providerId="ADAL" clId="{45291681-4A1D-447D-9C10-3102B3B07050}" dt="2025-11-04T02:23:55.383" v="789" actId="14100"/>
          <ac:spMkLst>
            <pc:docMk/>
            <pc:sldMk cId="1670993404" sldId="605"/>
            <ac:spMk id="11" creationId="{708AABA0-6184-7321-F34F-F752983B598E}"/>
          </ac:spMkLst>
        </pc:spChg>
        <pc:spChg chg="del">
          <ac:chgData name="Manne-Goehler, Jennifer M.,MD, SCD" userId="49ad1595-1fab-43f1-84d2-48398eae49ea" providerId="ADAL" clId="{45291681-4A1D-447D-9C10-3102B3B07050}" dt="2025-11-04T01:55:39.499" v="698" actId="478"/>
          <ac:spMkLst>
            <pc:docMk/>
            <pc:sldMk cId="1670993404" sldId="605"/>
            <ac:spMk id="12" creationId="{FAC3C4DA-9C93-23A0-2D7B-41E2A041E366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16" creationId="{9C2B30FB-C6C0-8C7B-0F25-51011973A760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17" creationId="{84A9344C-440E-FEE6-290E-95533DF69A8D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20" creationId="{B2C3015A-3A2D-56EF-27D2-21F3EF63F835}"/>
          </ac:spMkLst>
        </pc:spChg>
        <pc:spChg chg="add del">
          <ac:chgData name="Manne-Goehler, Jennifer M.,MD, SCD" userId="49ad1595-1fab-43f1-84d2-48398eae49ea" providerId="ADAL" clId="{45291681-4A1D-447D-9C10-3102B3B07050}" dt="2025-11-04T02:23:36.174" v="785" actId="478"/>
          <ac:spMkLst>
            <pc:docMk/>
            <pc:sldMk cId="1670993404" sldId="605"/>
            <ac:spMk id="22" creationId="{ECC2114E-5D01-40C3-A362-C0FECD1A4309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23" creationId="{2E90809D-D0E0-04B5-4E18-3C88AFC90BD0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24" creationId="{DF48E995-7D5D-8008-AFF3-B2AEE7E48283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25" creationId="{2A065FDD-7FB9-B99F-AC3E-BADA7ED64A89}"/>
          </ac:spMkLst>
        </pc:spChg>
        <pc:spChg chg="del">
          <ac:chgData name="Manne-Goehler, Jennifer M.,MD, SCD" userId="49ad1595-1fab-43f1-84d2-48398eae49ea" providerId="ADAL" clId="{45291681-4A1D-447D-9C10-3102B3B07050}" dt="2025-11-04T01:55:39.499" v="698" actId="478"/>
          <ac:spMkLst>
            <pc:docMk/>
            <pc:sldMk cId="1670993404" sldId="605"/>
            <ac:spMk id="27" creationId="{00000000-0000-0000-0000-000000000000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28" creationId="{6DD9AD8C-C54A-3DF7-55DC-21F34612523A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30" creationId="{0B07A556-5F2D-AB14-560C-C9BB6C01B8CB}"/>
          </ac:spMkLst>
        </pc:spChg>
        <pc:spChg chg="mod">
          <ac:chgData name="Manne-Goehler, Jennifer M.,MD, SCD" userId="49ad1595-1fab-43f1-84d2-48398eae49ea" providerId="ADAL" clId="{45291681-4A1D-447D-9C10-3102B3B07050}" dt="2025-11-04T02:23:29.379" v="784"/>
          <ac:spMkLst>
            <pc:docMk/>
            <pc:sldMk cId="1670993404" sldId="605"/>
            <ac:spMk id="31" creationId="{42D89A75-455A-2C7F-605E-9B044CF89764}"/>
          </ac:spMkLst>
        </pc:spChg>
        <pc:grpChg chg="del">
          <ac:chgData name="Manne-Goehler, Jennifer M.,MD, SCD" userId="49ad1595-1fab-43f1-84d2-48398eae49ea" providerId="ADAL" clId="{45291681-4A1D-447D-9C10-3102B3B07050}" dt="2025-11-04T01:55:34.672" v="697" actId="478"/>
          <ac:grpSpMkLst>
            <pc:docMk/>
            <pc:sldMk cId="1670993404" sldId="605"/>
            <ac:grpSpMk id="2" creationId="{6EBEAB00-16C9-77C2-377E-2BB2EF9A586F}"/>
          </ac:grpSpMkLst>
        </pc:grpChg>
        <pc:grpChg chg="mod">
          <ac:chgData name="Manne-Goehler, Jennifer M.,MD, SCD" userId="49ad1595-1fab-43f1-84d2-48398eae49ea" providerId="ADAL" clId="{45291681-4A1D-447D-9C10-3102B3B07050}" dt="2025-11-04T02:23:51.169" v="788" actId="14100"/>
          <ac:grpSpMkLst>
            <pc:docMk/>
            <pc:sldMk cId="1670993404" sldId="605"/>
            <ac:grpSpMk id="14" creationId="{EA8307BB-A721-95A8-FCE7-12E679A073CE}"/>
          </ac:grpSpMkLst>
        </pc:grpChg>
        <pc:grpChg chg="mod">
          <ac:chgData name="Manne-Goehler, Jennifer M.,MD, SCD" userId="49ad1595-1fab-43f1-84d2-48398eae49ea" providerId="ADAL" clId="{45291681-4A1D-447D-9C10-3102B3B07050}" dt="2025-11-04T02:23:51.169" v="788" actId="14100"/>
          <ac:grpSpMkLst>
            <pc:docMk/>
            <pc:sldMk cId="1670993404" sldId="605"/>
            <ac:grpSpMk id="19" creationId="{53C0745B-830E-4486-ABEE-6BCB6B75C062}"/>
          </ac:grpSpMkLst>
        </pc:grpChg>
        <pc:grpChg chg="mod">
          <ac:chgData name="Manne-Goehler, Jennifer M.,MD, SCD" userId="49ad1595-1fab-43f1-84d2-48398eae49ea" providerId="ADAL" clId="{45291681-4A1D-447D-9C10-3102B3B07050}" dt="2025-11-04T02:23:51.169" v="788" actId="14100"/>
          <ac:grpSpMkLst>
            <pc:docMk/>
            <pc:sldMk cId="1670993404" sldId="605"/>
            <ac:grpSpMk id="26" creationId="{9C0A1EBB-66AF-5D7F-87EF-7C8A200203A8}"/>
          </ac:grpSpMkLst>
        </pc:grpChg>
        <pc:picChg chg="add mod">
          <ac:chgData name="Manne-Goehler, Jennifer M.,MD, SCD" userId="49ad1595-1fab-43f1-84d2-48398eae49ea" providerId="ADAL" clId="{45291681-4A1D-447D-9C10-3102B3B07050}" dt="2025-11-04T02:23:23.808" v="783" actId="1076"/>
          <ac:picMkLst>
            <pc:docMk/>
            <pc:sldMk cId="1670993404" sldId="605"/>
            <ac:picMk id="8" creationId="{300A8F0D-14DC-FD1D-40AE-FAA870574DDA}"/>
          </ac:picMkLst>
        </pc:picChg>
        <pc:picChg chg="mod">
          <ac:chgData name="Manne-Goehler, Jennifer M.,MD, SCD" userId="49ad1595-1fab-43f1-84d2-48398eae49ea" providerId="ADAL" clId="{45291681-4A1D-447D-9C10-3102B3B07050}" dt="2025-11-04T02:23:59.427" v="790" actId="1076"/>
          <ac:picMkLst>
            <pc:docMk/>
            <pc:sldMk cId="1670993404" sldId="605"/>
            <ac:picMk id="13" creationId="{B6D254AC-4E0F-94B3-020B-8330379D39FA}"/>
          </ac:picMkLst>
        </pc:picChg>
      </pc:sldChg>
      <pc:sldChg chg="del">
        <pc:chgData name="Manne-Goehler, Jennifer M.,MD, SCD" userId="49ad1595-1fab-43f1-84d2-48398eae49ea" providerId="ADAL" clId="{45291681-4A1D-447D-9C10-3102B3B07050}" dt="2025-11-04T03:03:07.481" v="1226" actId="47"/>
        <pc:sldMkLst>
          <pc:docMk/>
          <pc:sldMk cId="1908573453" sldId="606"/>
        </pc:sldMkLst>
      </pc:sldChg>
      <pc:sldChg chg="add del">
        <pc:chgData name="Manne-Goehler, Jennifer M.,MD, SCD" userId="49ad1595-1fab-43f1-84d2-48398eae49ea" providerId="ADAL" clId="{45291681-4A1D-447D-9C10-3102B3B07050}" dt="2025-11-04T03:49:47.474" v="2149"/>
        <pc:sldMkLst>
          <pc:docMk/>
          <pc:sldMk cId="2989387694" sldId="607"/>
        </pc:sldMkLst>
      </pc:sldChg>
      <pc:sldChg chg="add del">
        <pc:chgData name="Manne-Goehler, Jennifer M.,MD, SCD" userId="49ad1595-1fab-43f1-84d2-48398eae49ea" providerId="ADAL" clId="{45291681-4A1D-447D-9C10-3102B3B07050}" dt="2025-11-04T03:49:47.474" v="2149"/>
        <pc:sldMkLst>
          <pc:docMk/>
          <pc:sldMk cId="4077007657" sldId="608"/>
        </pc:sldMkLst>
      </pc:sldChg>
      <pc:sldChg chg="add del">
        <pc:chgData name="Manne-Goehler, Jennifer M.,MD, SCD" userId="49ad1595-1fab-43f1-84d2-48398eae49ea" providerId="ADAL" clId="{45291681-4A1D-447D-9C10-3102B3B07050}" dt="2025-11-04T03:49:47.474" v="2149"/>
        <pc:sldMkLst>
          <pc:docMk/>
          <pc:sldMk cId="2873898455" sldId="609"/>
        </pc:sldMkLst>
      </pc:sldChg>
      <pc:sldChg chg="del">
        <pc:chgData name="Manne-Goehler, Jennifer M.,MD, SCD" userId="49ad1595-1fab-43f1-84d2-48398eae49ea" providerId="ADAL" clId="{45291681-4A1D-447D-9C10-3102B3B07050}" dt="2025-11-04T03:03:04.468" v="1224" actId="47"/>
        <pc:sldMkLst>
          <pc:docMk/>
          <pc:sldMk cId="1302723545" sldId="610"/>
        </pc:sldMkLst>
      </pc:sldChg>
      <pc:sldChg chg="modSp del ord">
        <pc:chgData name="Manne-Goehler, Jennifer M.,MD, SCD" userId="49ad1595-1fab-43f1-84d2-48398eae49ea" providerId="ADAL" clId="{45291681-4A1D-447D-9C10-3102B3B07050}" dt="2025-11-04T03:01:36.209" v="1185" actId="47"/>
        <pc:sldMkLst>
          <pc:docMk/>
          <pc:sldMk cId="3245630558" sldId="611"/>
        </pc:sldMkLst>
        <pc:picChg chg="mod">
          <ac:chgData name="Manne-Goehler, Jennifer M.,MD, SCD" userId="49ad1595-1fab-43f1-84d2-48398eae49ea" providerId="ADAL" clId="{45291681-4A1D-447D-9C10-3102B3B07050}" dt="2025-11-04T02:26:03.311" v="808" actId="1076"/>
          <ac:picMkLst>
            <pc:docMk/>
            <pc:sldMk cId="3245630558" sldId="611"/>
            <ac:picMk id="4" creationId="{11719A1E-5F70-9115-9ED5-3F089F8EFEF2}"/>
          </ac:picMkLst>
        </pc:picChg>
        <pc:picChg chg="mod">
          <ac:chgData name="Manne-Goehler, Jennifer M.,MD, SCD" userId="49ad1595-1fab-43f1-84d2-48398eae49ea" providerId="ADAL" clId="{45291681-4A1D-447D-9C10-3102B3B07050}" dt="2025-11-04T02:25:57.698" v="806" actId="1076"/>
          <ac:picMkLst>
            <pc:docMk/>
            <pc:sldMk cId="3245630558" sldId="611"/>
            <ac:picMk id="6" creationId="{95B1B998-F50C-11E9-E418-8F156C67828B}"/>
          </ac:picMkLst>
        </pc:picChg>
      </pc:sldChg>
      <pc:sldChg chg="del">
        <pc:chgData name="Manne-Goehler, Jennifer M.,MD, SCD" userId="49ad1595-1fab-43f1-84d2-48398eae49ea" providerId="ADAL" clId="{45291681-4A1D-447D-9C10-3102B3B07050}" dt="2025-11-03T20:56:25.567" v="517" actId="47"/>
        <pc:sldMkLst>
          <pc:docMk/>
          <pc:sldMk cId="1251455791" sldId="612"/>
        </pc:sldMkLst>
      </pc:sldChg>
      <pc:sldChg chg="del">
        <pc:chgData name="Manne-Goehler, Jennifer M.,MD, SCD" userId="49ad1595-1fab-43f1-84d2-48398eae49ea" providerId="ADAL" clId="{45291681-4A1D-447D-9C10-3102B3B07050}" dt="2025-11-03T20:56:35.658" v="519" actId="47"/>
        <pc:sldMkLst>
          <pc:docMk/>
          <pc:sldMk cId="2510181416" sldId="613"/>
        </pc:sldMkLst>
      </pc:sldChg>
      <pc:sldChg chg="del">
        <pc:chgData name="Manne-Goehler, Jennifer M.,MD, SCD" userId="49ad1595-1fab-43f1-84d2-48398eae49ea" providerId="ADAL" clId="{45291681-4A1D-447D-9C10-3102B3B07050}" dt="2025-11-04T03:05:44.268" v="1298" actId="47"/>
        <pc:sldMkLst>
          <pc:docMk/>
          <pc:sldMk cId="1438771676" sldId="616"/>
        </pc:sldMkLst>
      </pc:sldChg>
      <pc:sldChg chg="ord">
        <pc:chgData name="Manne-Goehler, Jennifer M.,MD, SCD" userId="49ad1595-1fab-43f1-84d2-48398eae49ea" providerId="ADAL" clId="{45291681-4A1D-447D-9C10-3102B3B07050}" dt="2025-11-04T03:45:37.197" v="2084"/>
        <pc:sldMkLst>
          <pc:docMk/>
          <pc:sldMk cId="3348969035" sldId="617"/>
        </pc:sldMkLst>
      </pc:sldChg>
      <pc:sldChg chg="add del">
        <pc:chgData name="Manne-Goehler, Jennifer M.,MD, SCD" userId="49ad1595-1fab-43f1-84d2-48398eae49ea" providerId="ADAL" clId="{45291681-4A1D-447D-9C10-3102B3B07050}" dt="2025-11-04T03:49:47.474" v="2149"/>
        <pc:sldMkLst>
          <pc:docMk/>
          <pc:sldMk cId="3503502236" sldId="622"/>
        </pc:sldMkLst>
      </pc:sldChg>
      <pc:sldChg chg="del">
        <pc:chgData name="Manne-Goehler, Jennifer M.,MD, SCD" userId="49ad1595-1fab-43f1-84d2-48398eae49ea" providerId="ADAL" clId="{45291681-4A1D-447D-9C10-3102B3B07050}" dt="2025-11-04T02:54:34.955" v="1072" actId="47"/>
        <pc:sldMkLst>
          <pc:docMk/>
          <pc:sldMk cId="1587207428" sldId="624"/>
        </pc:sldMkLst>
      </pc:sldChg>
      <pc:sldChg chg="del">
        <pc:chgData name="Manne-Goehler, Jennifer M.,MD, SCD" userId="49ad1595-1fab-43f1-84d2-48398eae49ea" providerId="ADAL" clId="{45291681-4A1D-447D-9C10-3102B3B07050}" dt="2025-11-04T02:54:37.310" v="1074" actId="47"/>
        <pc:sldMkLst>
          <pc:docMk/>
          <pc:sldMk cId="2367240960" sldId="625"/>
        </pc:sldMkLst>
      </pc:sldChg>
      <pc:sldChg chg="modSp mod ord">
        <pc:chgData name="Manne-Goehler, Jennifer M.,MD, SCD" userId="49ad1595-1fab-43f1-84d2-48398eae49ea" providerId="ADAL" clId="{45291681-4A1D-447D-9C10-3102B3B07050}" dt="2025-11-04T03:37:57.393" v="2035" actId="20577"/>
        <pc:sldMkLst>
          <pc:docMk/>
          <pc:sldMk cId="1089848384" sldId="626"/>
        </pc:sldMkLst>
        <pc:spChg chg="mod">
          <ac:chgData name="Manne-Goehler, Jennifer M.,MD, SCD" userId="49ad1595-1fab-43f1-84d2-48398eae49ea" providerId="ADAL" clId="{45291681-4A1D-447D-9C10-3102B3B07050}" dt="2025-11-04T03:37:50.593" v="2033" actId="20577"/>
          <ac:spMkLst>
            <pc:docMk/>
            <pc:sldMk cId="1089848384" sldId="626"/>
            <ac:spMk id="2" creationId="{BBA8B9C0-20E2-2769-81C5-F5A26C54752A}"/>
          </ac:spMkLst>
        </pc:spChg>
        <pc:spChg chg="mod">
          <ac:chgData name="Manne-Goehler, Jennifer M.,MD, SCD" userId="49ad1595-1fab-43f1-84d2-48398eae49ea" providerId="ADAL" clId="{45291681-4A1D-447D-9C10-3102B3B07050}" dt="2025-11-04T03:37:55.301" v="2034" actId="20577"/>
          <ac:spMkLst>
            <pc:docMk/>
            <pc:sldMk cId="1089848384" sldId="626"/>
            <ac:spMk id="17" creationId="{B775099B-6C9F-4CCA-4688-426113E19525}"/>
          </ac:spMkLst>
        </pc:spChg>
        <pc:spChg chg="mod">
          <ac:chgData name="Manne-Goehler, Jennifer M.,MD, SCD" userId="49ad1595-1fab-43f1-84d2-48398eae49ea" providerId="ADAL" clId="{45291681-4A1D-447D-9C10-3102B3B07050}" dt="2025-11-04T03:37:57.393" v="2035" actId="20577"/>
          <ac:spMkLst>
            <pc:docMk/>
            <pc:sldMk cId="1089848384" sldId="626"/>
            <ac:spMk id="18" creationId="{A9BDC864-64ED-45DA-73C7-E18DD71E5B33}"/>
          </ac:spMkLst>
        </pc:spChg>
      </pc:sldChg>
      <pc:sldChg chg="addSp delSp modSp mod">
        <pc:chgData name="Manne-Goehler, Jennifer M.,MD, SCD" userId="49ad1595-1fab-43f1-84d2-48398eae49ea" providerId="ADAL" clId="{45291681-4A1D-447D-9C10-3102B3B07050}" dt="2025-11-04T02:45:56.904" v="952" actId="20577"/>
        <pc:sldMkLst>
          <pc:docMk/>
          <pc:sldMk cId="3782280227" sldId="627"/>
        </pc:sldMkLst>
        <pc:spChg chg="del">
          <ac:chgData name="Manne-Goehler, Jennifer M.,MD, SCD" userId="49ad1595-1fab-43f1-84d2-48398eae49ea" providerId="ADAL" clId="{45291681-4A1D-447D-9C10-3102B3B07050}" dt="2025-11-04T02:01:55.707" v="713" actId="478"/>
          <ac:spMkLst>
            <pc:docMk/>
            <pc:sldMk cId="3782280227" sldId="627"/>
            <ac:spMk id="3" creationId="{69D0F643-D643-2CF0-D178-56C16AD5F17F}"/>
          </ac:spMkLst>
        </pc:spChg>
        <pc:spChg chg="add mod">
          <ac:chgData name="Manne-Goehler, Jennifer M.,MD, SCD" userId="49ad1595-1fab-43f1-84d2-48398eae49ea" providerId="ADAL" clId="{45291681-4A1D-447D-9C10-3102B3B07050}" dt="2025-11-04T02:45:56.904" v="952" actId="20577"/>
          <ac:spMkLst>
            <pc:docMk/>
            <pc:sldMk cId="3782280227" sldId="627"/>
            <ac:spMk id="5" creationId="{9CC9454A-2478-F027-DD33-0FA0FDF41F4A}"/>
          </ac:spMkLst>
        </pc:spChg>
        <pc:graphicFrameChg chg="add mod modGraphic">
          <ac:chgData name="Manne-Goehler, Jennifer M.,MD, SCD" userId="49ad1595-1fab-43f1-84d2-48398eae49ea" providerId="ADAL" clId="{45291681-4A1D-447D-9C10-3102B3B07050}" dt="2025-11-04T02:45:43.130" v="920" actId="1076"/>
          <ac:graphicFrameMkLst>
            <pc:docMk/>
            <pc:sldMk cId="3782280227" sldId="627"/>
            <ac:graphicFrameMk id="4" creationId="{4BF0244D-4540-2032-73ED-4E1A79E5F1F7}"/>
          </ac:graphicFrameMkLst>
        </pc:graphicFrameChg>
        <pc:picChg chg="add">
          <ac:chgData name="Manne-Goehler, Jennifer M.,MD, SCD" userId="49ad1595-1fab-43f1-84d2-48398eae49ea" providerId="ADAL" clId="{45291681-4A1D-447D-9C10-3102B3B07050}" dt="2025-11-04T02:44:32.191" v="906"/>
          <ac:picMkLst>
            <pc:docMk/>
            <pc:sldMk cId="3782280227" sldId="627"/>
            <ac:picMk id="2" creationId="{E03A7630-2850-6F23-758F-D24974496BB0}"/>
          </ac:picMkLst>
        </pc:picChg>
        <pc:picChg chg="del">
          <ac:chgData name="Manne-Goehler, Jennifer M.,MD, SCD" userId="49ad1595-1fab-43f1-84d2-48398eae49ea" providerId="ADAL" clId="{45291681-4A1D-447D-9C10-3102B3B07050}" dt="2025-11-04T02:01:50.982" v="712" actId="478"/>
          <ac:picMkLst>
            <pc:docMk/>
            <pc:sldMk cId="3782280227" sldId="627"/>
            <ac:picMk id="6" creationId="{72560390-DBAA-31B4-DD9A-CFA493C277D7}"/>
          </ac:picMkLst>
        </pc:picChg>
      </pc:sldChg>
      <pc:sldChg chg="del">
        <pc:chgData name="Manne-Goehler, Jennifer M.,MD, SCD" userId="49ad1595-1fab-43f1-84d2-48398eae49ea" providerId="ADAL" clId="{45291681-4A1D-447D-9C10-3102B3B07050}" dt="2025-11-03T20:56:31.994" v="518" actId="47"/>
        <pc:sldMkLst>
          <pc:docMk/>
          <pc:sldMk cId="1457835883" sldId="628"/>
        </pc:sldMkLst>
      </pc:sldChg>
      <pc:sldChg chg="addSp delSp modSp add mod ord">
        <pc:chgData name="Manne-Goehler, Jennifer M.,MD, SCD" userId="49ad1595-1fab-43f1-84d2-48398eae49ea" providerId="ADAL" clId="{45291681-4A1D-447D-9C10-3102B3B07050}" dt="2025-11-04T02:57:25.597" v="1183" actId="1076"/>
        <pc:sldMkLst>
          <pc:docMk/>
          <pc:sldMk cId="3907340827" sldId="628"/>
        </pc:sldMkLst>
        <pc:spChg chg="mod">
          <ac:chgData name="Manne-Goehler, Jennifer M.,MD, SCD" userId="49ad1595-1fab-43f1-84d2-48398eae49ea" providerId="ADAL" clId="{45291681-4A1D-447D-9C10-3102B3B07050}" dt="2025-11-04T02:55:10.211" v="1104" actId="20577"/>
          <ac:spMkLst>
            <pc:docMk/>
            <pc:sldMk cId="3907340827" sldId="628"/>
            <ac:spMk id="5" creationId="{8A387308-124A-232A-010B-E06850D0C727}"/>
          </ac:spMkLst>
        </pc:spChg>
        <pc:graphicFrameChg chg="del">
          <ac:chgData name="Manne-Goehler, Jennifer M.,MD, SCD" userId="49ad1595-1fab-43f1-84d2-48398eae49ea" providerId="ADAL" clId="{45291681-4A1D-447D-9C10-3102B3B07050}" dt="2025-11-04T02:46:43.453" v="956" actId="478"/>
          <ac:graphicFrameMkLst>
            <pc:docMk/>
            <pc:sldMk cId="3907340827" sldId="628"/>
            <ac:graphicFrameMk id="4" creationId="{D044A1E7-E74D-EF3D-9555-025D0981DA4C}"/>
          </ac:graphicFrameMkLst>
        </pc:graphicFrameChg>
        <pc:picChg chg="add mod">
          <ac:chgData name="Manne-Goehler, Jennifer M.,MD, SCD" userId="49ad1595-1fab-43f1-84d2-48398eae49ea" providerId="ADAL" clId="{45291681-4A1D-447D-9C10-3102B3B07050}" dt="2025-11-04T02:57:25.597" v="1183" actId="1076"/>
          <ac:picMkLst>
            <pc:docMk/>
            <pc:sldMk cId="3907340827" sldId="628"/>
            <ac:picMk id="2" creationId="{5957A7B8-A562-E6B7-318B-92551D915DC7}"/>
          </ac:picMkLst>
        </pc:picChg>
      </pc:sldChg>
      <pc:sldChg chg="addSp delSp modSp add mod">
        <pc:chgData name="Manne-Goehler, Jennifer M.,MD, SCD" userId="49ad1595-1fab-43f1-84d2-48398eae49ea" providerId="ADAL" clId="{45291681-4A1D-447D-9C10-3102B3B07050}" dt="2025-11-04T02:54:14.615" v="1071" actId="1076"/>
        <pc:sldMkLst>
          <pc:docMk/>
          <pc:sldMk cId="4045921947" sldId="629"/>
        </pc:sldMkLst>
        <pc:spChg chg="mod">
          <ac:chgData name="Manne-Goehler, Jennifer M.,MD, SCD" userId="49ad1595-1fab-43f1-84d2-48398eae49ea" providerId="ADAL" clId="{45291681-4A1D-447D-9C10-3102B3B07050}" dt="2025-11-04T02:53:59.659" v="1066" actId="20577"/>
          <ac:spMkLst>
            <pc:docMk/>
            <pc:sldMk cId="4045921947" sldId="629"/>
            <ac:spMk id="5" creationId="{CD79A24E-FD58-FCEA-D434-A4495E201666}"/>
          </ac:spMkLst>
        </pc:spChg>
        <pc:graphicFrameChg chg="del">
          <ac:chgData name="Manne-Goehler, Jennifer M.,MD, SCD" userId="49ad1595-1fab-43f1-84d2-48398eae49ea" providerId="ADAL" clId="{45291681-4A1D-447D-9C10-3102B3B07050}" dt="2025-11-04T02:48:18.089" v="1025" actId="478"/>
          <ac:graphicFrameMkLst>
            <pc:docMk/>
            <pc:sldMk cId="4045921947" sldId="629"/>
            <ac:graphicFrameMk id="4" creationId="{DA0F31C6-79D9-1DEC-A41C-9C6D1299AE50}"/>
          </ac:graphicFrameMkLst>
        </pc:graphicFrameChg>
        <pc:picChg chg="add mod">
          <ac:chgData name="Manne-Goehler, Jennifer M.,MD, SCD" userId="49ad1595-1fab-43f1-84d2-48398eae49ea" providerId="ADAL" clId="{45291681-4A1D-447D-9C10-3102B3B07050}" dt="2025-11-04T02:54:14.615" v="1071" actId="1076"/>
          <ac:picMkLst>
            <pc:docMk/>
            <pc:sldMk cId="4045921947" sldId="629"/>
            <ac:picMk id="2" creationId="{092A81AC-130D-E90F-F871-E4961B04F13D}"/>
          </ac:picMkLst>
        </pc:picChg>
      </pc:sldChg>
      <pc:sldChg chg="addSp delSp modSp add mod">
        <pc:chgData name="Manne-Goehler, Jennifer M.,MD, SCD" userId="49ad1595-1fab-43f1-84d2-48398eae49ea" providerId="ADAL" clId="{45291681-4A1D-447D-9C10-3102B3B07050}" dt="2025-11-04T03:06:24.538" v="1325" actId="20577"/>
        <pc:sldMkLst>
          <pc:docMk/>
          <pc:sldMk cId="174953332" sldId="630"/>
        </pc:sldMkLst>
        <pc:spChg chg="add del mod">
          <ac:chgData name="Manne-Goehler, Jennifer M.,MD, SCD" userId="49ad1595-1fab-43f1-84d2-48398eae49ea" providerId="ADAL" clId="{45291681-4A1D-447D-9C10-3102B3B07050}" dt="2025-11-04T02:55:31.091" v="1106" actId="478"/>
          <ac:spMkLst>
            <pc:docMk/>
            <pc:sldMk cId="174953332" sldId="630"/>
            <ac:spMk id="3" creationId="{B2B61956-AEA4-4D24-F39B-F20391F61C07}"/>
          </ac:spMkLst>
        </pc:spChg>
        <pc:spChg chg="mod">
          <ac:chgData name="Manne-Goehler, Jennifer M.,MD, SCD" userId="49ad1595-1fab-43f1-84d2-48398eae49ea" providerId="ADAL" clId="{45291681-4A1D-447D-9C10-3102B3B07050}" dt="2025-11-04T03:06:24.538" v="1325" actId="20577"/>
          <ac:spMkLst>
            <pc:docMk/>
            <pc:sldMk cId="174953332" sldId="630"/>
            <ac:spMk id="5" creationId="{42A10DCE-FED3-06EA-948B-AF6ADE3F8665}"/>
          </ac:spMkLst>
        </pc:spChg>
        <pc:spChg chg="add del mod">
          <ac:chgData name="Manne-Goehler, Jennifer M.,MD, SCD" userId="49ad1595-1fab-43f1-84d2-48398eae49ea" providerId="ADAL" clId="{45291681-4A1D-447D-9C10-3102B3B07050}" dt="2025-11-04T02:55:31.091" v="1106" actId="478"/>
          <ac:spMkLst>
            <pc:docMk/>
            <pc:sldMk cId="174953332" sldId="630"/>
            <ac:spMk id="6" creationId="{8907BD8B-FCEE-A71A-DCDD-3F55927B31E8}"/>
          </ac:spMkLst>
        </pc:spChg>
        <pc:graphicFrameChg chg="del">
          <ac:chgData name="Manne-Goehler, Jennifer M.,MD, SCD" userId="49ad1595-1fab-43f1-84d2-48398eae49ea" providerId="ADAL" clId="{45291681-4A1D-447D-9C10-3102B3B07050}" dt="2025-11-04T02:48:23.623" v="1026" actId="478"/>
          <ac:graphicFrameMkLst>
            <pc:docMk/>
            <pc:sldMk cId="174953332" sldId="630"/>
            <ac:graphicFrameMk id="4" creationId="{22B972F1-48B1-5BF2-C226-FA92A177DA6F}"/>
          </ac:graphicFrameMkLst>
        </pc:graphicFrameChg>
        <pc:picChg chg="add del mod">
          <ac:chgData name="Manne-Goehler, Jennifer M.,MD, SCD" userId="49ad1595-1fab-43f1-84d2-48398eae49ea" providerId="ADAL" clId="{45291681-4A1D-447D-9C10-3102B3B07050}" dt="2025-11-04T02:55:31.091" v="1106" actId="478"/>
          <ac:picMkLst>
            <pc:docMk/>
            <pc:sldMk cId="174953332" sldId="630"/>
            <ac:picMk id="2" creationId="{5E1F6106-4B1B-F29C-2D97-8160305E657E}"/>
          </ac:picMkLst>
        </pc:picChg>
        <pc:picChg chg="add mod">
          <ac:chgData name="Manne-Goehler, Jennifer M.,MD, SCD" userId="49ad1595-1fab-43f1-84d2-48398eae49ea" providerId="ADAL" clId="{45291681-4A1D-447D-9C10-3102B3B07050}" dt="2025-11-04T03:06:11.108" v="1301" actId="14100"/>
          <ac:picMkLst>
            <pc:docMk/>
            <pc:sldMk cId="174953332" sldId="630"/>
            <ac:picMk id="7" creationId="{7E512ADE-7B66-7DEA-FE49-E7DC1495884B}"/>
          </ac:picMkLst>
        </pc:picChg>
      </pc:sldChg>
      <pc:sldChg chg="addSp delSp modSp add mod">
        <pc:chgData name="Manne-Goehler, Jennifer M.,MD, SCD" userId="49ad1595-1fab-43f1-84d2-48398eae49ea" providerId="ADAL" clId="{45291681-4A1D-447D-9C10-3102B3B07050}" dt="2025-11-04T02:57:12.544" v="1181" actId="1076"/>
        <pc:sldMkLst>
          <pc:docMk/>
          <pc:sldMk cId="1016814291" sldId="631"/>
        </pc:sldMkLst>
        <pc:spChg chg="mod">
          <ac:chgData name="Manne-Goehler, Jennifer M.,MD, SCD" userId="49ad1595-1fab-43f1-84d2-48398eae49ea" providerId="ADAL" clId="{45291681-4A1D-447D-9C10-3102B3B07050}" dt="2025-11-04T02:56:27.090" v="1177" actId="20577"/>
          <ac:spMkLst>
            <pc:docMk/>
            <pc:sldMk cId="1016814291" sldId="631"/>
            <ac:spMk id="5" creationId="{33040FE1-2636-62BA-626D-FF1C8D8F9EA4}"/>
          </ac:spMkLst>
        </pc:spChg>
        <pc:picChg chg="del">
          <ac:chgData name="Manne-Goehler, Jennifer M.,MD, SCD" userId="49ad1595-1fab-43f1-84d2-48398eae49ea" providerId="ADAL" clId="{45291681-4A1D-447D-9C10-3102B3B07050}" dt="2025-11-04T02:56:28.739" v="1178" actId="478"/>
          <ac:picMkLst>
            <pc:docMk/>
            <pc:sldMk cId="1016814291" sldId="631"/>
            <ac:picMk id="2" creationId="{26F040BB-BECA-CE26-C53F-4C8B81C3BAE9}"/>
          </ac:picMkLst>
        </pc:picChg>
        <pc:picChg chg="add mod">
          <ac:chgData name="Manne-Goehler, Jennifer M.,MD, SCD" userId="49ad1595-1fab-43f1-84d2-48398eae49ea" providerId="ADAL" clId="{45291681-4A1D-447D-9C10-3102B3B07050}" dt="2025-11-04T02:57:12.544" v="1181" actId="1076"/>
          <ac:picMkLst>
            <pc:docMk/>
            <pc:sldMk cId="1016814291" sldId="631"/>
            <ac:picMk id="3" creationId="{7C80051B-07F6-BD2C-0E21-A72ED80C3F39}"/>
          </ac:picMkLst>
        </pc:picChg>
      </pc:sldChg>
      <pc:sldChg chg="add">
        <pc:chgData name="Manne-Goehler, Jennifer M.,MD, SCD" userId="49ad1595-1fab-43f1-84d2-48398eae49ea" providerId="ADAL" clId="{45291681-4A1D-447D-9C10-3102B3B07050}" dt="2025-11-04T03:49:47.474" v="2149"/>
        <pc:sldMkLst>
          <pc:docMk/>
          <pc:sldMk cId="3180301814" sldId="633"/>
        </pc:sldMkLst>
      </pc:sldChg>
      <pc:sldChg chg="modSp add mod">
        <pc:chgData name="Manne-Goehler, Jennifer M.,MD, SCD" userId="49ad1595-1fab-43f1-84d2-48398eae49ea" providerId="ADAL" clId="{45291681-4A1D-447D-9C10-3102B3B07050}" dt="2025-11-04T04:02:47.417" v="2391" actId="20577"/>
        <pc:sldMkLst>
          <pc:docMk/>
          <pc:sldMk cId="2110431423" sldId="670"/>
        </pc:sldMkLst>
        <pc:spChg chg="mod">
          <ac:chgData name="Manne-Goehler, Jennifer M.,MD, SCD" userId="49ad1595-1fab-43f1-84d2-48398eae49ea" providerId="ADAL" clId="{45291681-4A1D-447D-9C10-3102B3B07050}" dt="2025-11-04T04:02:47.417" v="2391" actId="20577"/>
          <ac:spMkLst>
            <pc:docMk/>
            <pc:sldMk cId="2110431423" sldId="670"/>
            <ac:spMk id="3" creationId="{3D791B4F-6B41-42DE-34A2-D0A86497A34B}"/>
          </ac:spMkLst>
        </pc:spChg>
      </pc:sldChg>
      <pc:sldChg chg="modSp add mod">
        <pc:chgData name="Manne-Goehler, Jennifer M.,MD, SCD" userId="49ad1595-1fab-43f1-84d2-48398eae49ea" providerId="ADAL" clId="{45291681-4A1D-447D-9C10-3102B3B07050}" dt="2025-11-04T04:00:05.809" v="2255"/>
        <pc:sldMkLst>
          <pc:docMk/>
          <pc:sldMk cId="3216231057" sldId="680"/>
        </pc:sldMkLst>
        <pc:spChg chg="mod">
          <ac:chgData name="Manne-Goehler, Jennifer M.,MD, SCD" userId="49ad1595-1fab-43f1-84d2-48398eae49ea" providerId="ADAL" clId="{45291681-4A1D-447D-9C10-3102B3B07050}" dt="2025-11-04T04:00:05.809" v="2255"/>
          <ac:spMkLst>
            <pc:docMk/>
            <pc:sldMk cId="3216231057" sldId="680"/>
            <ac:spMk id="3" creationId="{8F8AF0F2-18D3-54C4-EF6D-3B015DD83F3E}"/>
          </ac:spMkLst>
        </pc:spChg>
        <pc:spChg chg="mod">
          <ac:chgData name="Manne-Goehler, Jennifer M.,MD, SCD" userId="49ad1595-1fab-43f1-84d2-48398eae49ea" providerId="ADAL" clId="{45291681-4A1D-447D-9C10-3102B3B07050}" dt="2025-11-04T03:01:53.791" v="1200" actId="20577"/>
          <ac:spMkLst>
            <pc:docMk/>
            <pc:sldMk cId="3216231057" sldId="680"/>
            <ac:spMk id="6" creationId="{376E3026-02DF-F39D-D80D-148408F59CAF}"/>
          </ac:spMkLst>
        </pc:spChg>
        <pc:spChg chg="mod">
          <ac:chgData name="Manne-Goehler, Jennifer M.,MD, SCD" userId="49ad1595-1fab-43f1-84d2-48398eae49ea" providerId="ADAL" clId="{45291681-4A1D-447D-9C10-3102B3B07050}" dt="2025-11-04T03:07:08.369" v="1347" actId="20577"/>
          <ac:spMkLst>
            <pc:docMk/>
            <pc:sldMk cId="3216231057" sldId="680"/>
            <ac:spMk id="9" creationId="{6EB54A92-80D6-0434-4CF3-4BA9811C3A5C}"/>
          </ac:spMkLst>
        </pc:spChg>
        <pc:spChg chg="mod">
          <ac:chgData name="Manne-Goehler, Jennifer M.,MD, SCD" userId="49ad1595-1fab-43f1-84d2-48398eae49ea" providerId="ADAL" clId="{45291681-4A1D-447D-9C10-3102B3B07050}" dt="2025-11-04T03:07:55.806" v="1366" actId="20577"/>
          <ac:spMkLst>
            <pc:docMk/>
            <pc:sldMk cId="3216231057" sldId="680"/>
            <ac:spMk id="12" creationId="{875C27A4-706D-9016-DB5E-7A4D1ACF6666}"/>
          </ac:spMkLst>
        </pc:spChg>
      </pc:sldChg>
      <pc:sldChg chg="addSp delSp modSp add mod">
        <pc:chgData name="Manne-Goehler, Jennifer M.,MD, SCD" userId="49ad1595-1fab-43f1-84d2-48398eae49ea" providerId="ADAL" clId="{45291681-4A1D-447D-9C10-3102B3B07050}" dt="2025-11-04T04:01:42.140" v="2351" actId="20577"/>
        <pc:sldMkLst>
          <pc:docMk/>
          <pc:sldMk cId="505143600" sldId="681"/>
        </pc:sldMkLst>
        <pc:spChg chg="add mod">
          <ac:chgData name="Manne-Goehler, Jennifer M.,MD, SCD" userId="49ad1595-1fab-43f1-84d2-48398eae49ea" providerId="ADAL" clId="{45291681-4A1D-447D-9C10-3102B3B07050}" dt="2025-11-04T04:01:27.799" v="2274" actId="1076"/>
          <ac:spMkLst>
            <pc:docMk/>
            <pc:sldMk cId="505143600" sldId="681"/>
            <ac:spMk id="4" creationId="{629C155F-305E-7030-C817-CDAFF6D7A41A}"/>
          </ac:spMkLst>
        </pc:spChg>
        <pc:spChg chg="mod">
          <ac:chgData name="Manne-Goehler, Jennifer M.,MD, SCD" userId="49ad1595-1fab-43f1-84d2-48398eae49ea" providerId="ADAL" clId="{45291681-4A1D-447D-9C10-3102B3B07050}" dt="2025-11-04T04:01:42.140" v="2351" actId="20577"/>
          <ac:spMkLst>
            <pc:docMk/>
            <pc:sldMk cId="505143600" sldId="681"/>
            <ac:spMk id="5" creationId="{7F7650DB-BCE4-E843-3B4A-64A4BCE71785}"/>
          </ac:spMkLst>
        </pc:spChg>
        <pc:picChg chg="add del">
          <ac:chgData name="Manne-Goehler, Jennifer M.,MD, SCD" userId="49ad1595-1fab-43f1-84d2-48398eae49ea" providerId="ADAL" clId="{45291681-4A1D-447D-9C10-3102B3B07050}" dt="2025-11-04T03:34:23.713" v="1953" actId="478"/>
          <ac:picMkLst>
            <pc:docMk/>
            <pc:sldMk cId="505143600" sldId="681"/>
            <ac:picMk id="2" creationId="{DFF5D95A-06E7-BA44-2EBE-8E16A3498502}"/>
          </ac:picMkLst>
        </pc:picChg>
        <pc:picChg chg="del">
          <ac:chgData name="Manne-Goehler, Jennifer M.,MD, SCD" userId="49ad1595-1fab-43f1-84d2-48398eae49ea" providerId="ADAL" clId="{45291681-4A1D-447D-9C10-3102B3B07050}" dt="2025-11-04T03:21:15.215" v="1716" actId="478"/>
          <ac:picMkLst>
            <pc:docMk/>
            <pc:sldMk cId="505143600" sldId="681"/>
            <ac:picMk id="7" creationId="{4F05A482-08EF-358E-E3FA-6BAE99972E11}"/>
          </ac:picMkLst>
        </pc:picChg>
      </pc:sldChg>
      <pc:sldChg chg="addSp delSp modSp add mod">
        <pc:chgData name="Manne-Goehler, Jennifer M.,MD, SCD" userId="49ad1595-1fab-43f1-84d2-48398eae49ea" providerId="ADAL" clId="{45291681-4A1D-447D-9C10-3102B3B07050}" dt="2025-11-04T03:11:51.040" v="1601" actId="313"/>
        <pc:sldMkLst>
          <pc:docMk/>
          <pc:sldMk cId="4188246675" sldId="682"/>
        </pc:sldMkLst>
        <pc:spChg chg="mod">
          <ac:chgData name="Manne-Goehler, Jennifer M.,MD, SCD" userId="49ad1595-1fab-43f1-84d2-48398eae49ea" providerId="ADAL" clId="{45291681-4A1D-447D-9C10-3102B3B07050}" dt="2025-11-04T03:11:51.040" v="1601" actId="313"/>
          <ac:spMkLst>
            <pc:docMk/>
            <pc:sldMk cId="4188246675" sldId="682"/>
            <ac:spMk id="5" creationId="{3F5EA680-FD73-472C-4824-50274DC01FFF}"/>
          </ac:spMkLst>
        </pc:spChg>
        <pc:picChg chg="add mod">
          <ac:chgData name="Manne-Goehler, Jennifer M.,MD, SCD" userId="49ad1595-1fab-43f1-84d2-48398eae49ea" providerId="ADAL" clId="{45291681-4A1D-447D-9C10-3102B3B07050}" dt="2025-11-04T03:11:30.407" v="1481" actId="1076"/>
          <ac:picMkLst>
            <pc:docMk/>
            <pc:sldMk cId="4188246675" sldId="682"/>
            <ac:picMk id="2" creationId="{622A2F2A-1695-960A-BBE4-413DA4BD28D3}"/>
          </ac:picMkLst>
        </pc:picChg>
        <pc:picChg chg="del">
          <ac:chgData name="Manne-Goehler, Jennifer M.,MD, SCD" userId="49ad1595-1fab-43f1-84d2-48398eae49ea" providerId="ADAL" clId="{45291681-4A1D-447D-9C10-3102B3B07050}" dt="2025-11-04T03:11:19.494" v="1477" actId="478"/>
          <ac:picMkLst>
            <pc:docMk/>
            <pc:sldMk cId="4188246675" sldId="682"/>
            <ac:picMk id="7" creationId="{8BF8B81D-E9ED-3097-8643-1E51C466D605}"/>
          </ac:picMkLst>
        </pc:picChg>
      </pc:sldChg>
      <pc:sldChg chg="addSp delSp modSp add mod">
        <pc:chgData name="Manne-Goehler, Jennifer M.,MD, SCD" userId="49ad1595-1fab-43f1-84d2-48398eae49ea" providerId="ADAL" clId="{45291681-4A1D-447D-9C10-3102B3B07050}" dt="2025-11-04T04:02:08.931" v="2381" actId="20577"/>
        <pc:sldMkLst>
          <pc:docMk/>
          <pc:sldMk cId="1828508585" sldId="683"/>
        </pc:sldMkLst>
        <pc:spChg chg="mod">
          <ac:chgData name="Manne-Goehler, Jennifer M.,MD, SCD" userId="49ad1595-1fab-43f1-84d2-48398eae49ea" providerId="ADAL" clId="{45291681-4A1D-447D-9C10-3102B3B07050}" dt="2025-11-04T04:02:08.931" v="2381" actId="20577"/>
          <ac:spMkLst>
            <pc:docMk/>
            <pc:sldMk cId="1828508585" sldId="683"/>
            <ac:spMk id="5" creationId="{7F8DA9C7-2963-BA43-9DCE-0330A9750FE6}"/>
          </ac:spMkLst>
        </pc:spChg>
        <pc:graphicFrameChg chg="add mod modGraphic">
          <ac:chgData name="Manne-Goehler, Jennifer M.,MD, SCD" userId="49ad1595-1fab-43f1-84d2-48398eae49ea" providerId="ADAL" clId="{45291681-4A1D-447D-9C10-3102B3B07050}" dt="2025-11-04T03:47:39.710" v="2148" actId="14734"/>
          <ac:graphicFrameMkLst>
            <pc:docMk/>
            <pc:sldMk cId="1828508585" sldId="683"/>
            <ac:graphicFrameMk id="2" creationId="{8B5F3797-BF80-3576-F93D-E95877B06BD9}"/>
          </ac:graphicFrameMkLst>
        </pc:graphicFrameChg>
        <pc:picChg chg="del">
          <ac:chgData name="Manne-Goehler, Jennifer M.,MD, SCD" userId="49ad1595-1fab-43f1-84d2-48398eae49ea" providerId="ADAL" clId="{45291681-4A1D-447D-9C10-3102B3B07050}" dt="2025-11-04T03:11:55.447" v="1602" actId="478"/>
          <ac:picMkLst>
            <pc:docMk/>
            <pc:sldMk cId="1828508585" sldId="683"/>
            <ac:picMk id="7" creationId="{DE98C4FE-9E7F-E001-9308-8E5486EBE45F}"/>
          </ac:picMkLst>
        </pc:picChg>
      </pc:sldChg>
      <pc:sldChg chg="modSp add mod">
        <pc:chgData name="Manne-Goehler, Jennifer M.,MD, SCD" userId="49ad1595-1fab-43f1-84d2-48398eae49ea" providerId="ADAL" clId="{45291681-4A1D-447D-9C10-3102B3B07050}" dt="2025-11-04T03:29:48.959" v="1879" actId="20577"/>
        <pc:sldMkLst>
          <pc:docMk/>
          <pc:sldMk cId="3132947363" sldId="684"/>
        </pc:sldMkLst>
        <pc:spChg chg="mod">
          <ac:chgData name="Manne-Goehler, Jennifer M.,MD, SCD" userId="49ad1595-1fab-43f1-84d2-48398eae49ea" providerId="ADAL" clId="{45291681-4A1D-447D-9C10-3102B3B07050}" dt="2025-11-04T03:29:48.959" v="1879" actId="20577"/>
          <ac:spMkLst>
            <pc:docMk/>
            <pc:sldMk cId="3132947363" sldId="684"/>
            <ac:spMk id="6" creationId="{9326C6B7-38E0-CFDE-BC3E-9D5231E8C29F}"/>
          </ac:spMkLst>
        </pc:spChg>
      </pc:sldChg>
      <pc:sldChg chg="new del">
        <pc:chgData name="Manne-Goehler, Jennifer M.,MD, SCD" userId="49ad1595-1fab-43f1-84d2-48398eae49ea" providerId="ADAL" clId="{45291681-4A1D-447D-9C10-3102B3B07050}" dt="2025-11-04T03:33:13.707" v="1881" actId="47"/>
        <pc:sldMkLst>
          <pc:docMk/>
          <pc:sldMk cId="3238099972" sldId="685"/>
        </pc:sldMkLst>
      </pc:sldChg>
      <pc:sldChg chg="addSp delSp modSp add mod">
        <pc:chgData name="Manne-Goehler, Jennifer M.,MD, SCD" userId="49ad1595-1fab-43f1-84d2-48398eae49ea" providerId="ADAL" clId="{45291681-4A1D-447D-9C10-3102B3B07050}" dt="2025-11-04T03:44:42.826" v="2079" actId="1076"/>
        <pc:sldMkLst>
          <pc:docMk/>
          <pc:sldMk cId="3629904812" sldId="685"/>
        </pc:sldMkLst>
        <pc:spChg chg="mod">
          <ac:chgData name="Manne-Goehler, Jennifer M.,MD, SCD" userId="49ad1595-1fab-43f1-84d2-48398eae49ea" providerId="ADAL" clId="{45291681-4A1D-447D-9C10-3102B3B07050}" dt="2025-11-04T03:33:57.599" v="1949" actId="20577"/>
          <ac:spMkLst>
            <pc:docMk/>
            <pc:sldMk cId="3629904812" sldId="685"/>
            <ac:spMk id="5" creationId="{9A81A510-9A93-9FFE-2D7D-0194C71A5B8B}"/>
          </ac:spMkLst>
        </pc:spChg>
        <pc:picChg chg="del mod">
          <ac:chgData name="Manne-Goehler, Jennifer M.,MD, SCD" userId="49ad1595-1fab-43f1-84d2-48398eae49ea" providerId="ADAL" clId="{45291681-4A1D-447D-9C10-3102B3B07050}" dt="2025-11-04T03:41:33.346" v="2053" actId="478"/>
          <ac:picMkLst>
            <pc:docMk/>
            <pc:sldMk cId="3629904812" sldId="685"/>
            <ac:picMk id="2" creationId="{C5CB8AEC-319A-14F5-835D-2C24DF4B1594}"/>
          </ac:picMkLst>
        </pc:picChg>
        <pc:picChg chg="add mod">
          <ac:chgData name="Manne-Goehler, Jennifer M.,MD, SCD" userId="49ad1595-1fab-43f1-84d2-48398eae49ea" providerId="ADAL" clId="{45291681-4A1D-447D-9C10-3102B3B07050}" dt="2025-11-04T03:44:42.826" v="2079" actId="1076"/>
          <ac:picMkLst>
            <pc:docMk/>
            <pc:sldMk cId="3629904812" sldId="685"/>
            <ac:picMk id="3" creationId="{3961F834-9EE3-A901-8970-2DF8B61736C5}"/>
          </ac:picMkLst>
        </pc:picChg>
      </pc:sldChg>
      <pc:sldChg chg="addSp delSp modSp add mod ord">
        <pc:chgData name="Manne-Goehler, Jennifer M.,MD, SCD" userId="49ad1595-1fab-43f1-84d2-48398eae49ea" providerId="ADAL" clId="{45291681-4A1D-447D-9C10-3102B3B07050}" dt="2025-11-04T03:44:11.590" v="2078" actId="1076"/>
        <pc:sldMkLst>
          <pc:docMk/>
          <pc:sldMk cId="2243105694" sldId="686"/>
        </pc:sldMkLst>
        <pc:spChg chg="add del mod">
          <ac:chgData name="Manne-Goehler, Jennifer M.,MD, SCD" userId="49ad1595-1fab-43f1-84d2-48398eae49ea" providerId="ADAL" clId="{45291681-4A1D-447D-9C10-3102B3B07050}" dt="2025-11-04T03:43:53.885" v="2072" actId="478"/>
          <ac:spMkLst>
            <pc:docMk/>
            <pc:sldMk cId="2243105694" sldId="686"/>
            <ac:spMk id="4" creationId="{0F1D3ACC-2DBE-89C3-2059-9BFCF00A1BDA}"/>
          </ac:spMkLst>
        </pc:spChg>
        <pc:spChg chg="add del mod">
          <ac:chgData name="Manne-Goehler, Jennifer M.,MD, SCD" userId="49ad1595-1fab-43f1-84d2-48398eae49ea" providerId="ADAL" clId="{45291681-4A1D-447D-9C10-3102B3B07050}" dt="2025-11-04T03:43:53.885" v="2072" actId="478"/>
          <ac:spMkLst>
            <pc:docMk/>
            <pc:sldMk cId="2243105694" sldId="686"/>
            <ac:spMk id="6" creationId="{20E45C38-A874-E843-A2D2-4220185C8A48}"/>
          </ac:spMkLst>
        </pc:spChg>
        <pc:spChg chg="add del mod">
          <ac:chgData name="Manne-Goehler, Jennifer M.,MD, SCD" userId="49ad1595-1fab-43f1-84d2-48398eae49ea" providerId="ADAL" clId="{45291681-4A1D-447D-9C10-3102B3B07050}" dt="2025-11-04T03:43:53.885" v="2072" actId="478"/>
          <ac:spMkLst>
            <pc:docMk/>
            <pc:sldMk cId="2243105694" sldId="686"/>
            <ac:spMk id="7" creationId="{0BFBF80E-38C7-77D8-37AD-5E58AB49BCF4}"/>
          </ac:spMkLst>
        </pc:spChg>
        <pc:picChg chg="del">
          <ac:chgData name="Manne-Goehler, Jennifer M.,MD, SCD" userId="49ad1595-1fab-43f1-84d2-48398eae49ea" providerId="ADAL" clId="{45291681-4A1D-447D-9C10-3102B3B07050}" dt="2025-11-04T03:34:37.948" v="1955" actId="478"/>
          <ac:picMkLst>
            <pc:docMk/>
            <pc:sldMk cId="2243105694" sldId="686"/>
            <ac:picMk id="2" creationId="{3600F236-CCBE-9F09-F273-53527C18E24D}"/>
          </ac:picMkLst>
        </pc:picChg>
        <pc:picChg chg="add mod">
          <ac:chgData name="Manne-Goehler, Jennifer M.,MD, SCD" userId="49ad1595-1fab-43f1-84d2-48398eae49ea" providerId="ADAL" clId="{45291681-4A1D-447D-9C10-3102B3B07050}" dt="2025-11-04T03:44:02.934" v="2075" actId="1076"/>
          <ac:picMkLst>
            <pc:docMk/>
            <pc:sldMk cId="2243105694" sldId="686"/>
            <ac:picMk id="3" creationId="{B33DFEB1-0990-C74E-4005-71428A6C7D99}"/>
          </ac:picMkLst>
        </pc:picChg>
        <pc:picChg chg="add mod">
          <ac:chgData name="Manne-Goehler, Jennifer M.,MD, SCD" userId="49ad1595-1fab-43f1-84d2-48398eae49ea" providerId="ADAL" clId="{45291681-4A1D-447D-9C10-3102B3B07050}" dt="2025-11-04T03:44:11.590" v="2078" actId="1076"/>
          <ac:picMkLst>
            <pc:docMk/>
            <pc:sldMk cId="2243105694" sldId="686"/>
            <ac:picMk id="8" creationId="{8CD7459D-847F-E32E-721B-E25258F2545B}"/>
          </ac:picMkLst>
        </pc:picChg>
      </pc:sldChg>
      <pc:sldChg chg="addSp delSp modSp add mod ord">
        <pc:chgData name="Manne-Goehler, Jennifer M.,MD, SCD" userId="49ad1595-1fab-43f1-84d2-48398eae49ea" providerId="ADAL" clId="{45291681-4A1D-447D-9C10-3102B3B07050}" dt="2025-11-04T03:37:24.422" v="1995"/>
        <pc:sldMkLst>
          <pc:docMk/>
          <pc:sldMk cId="1776174473" sldId="687"/>
        </pc:sldMkLst>
        <pc:spChg chg="add del mod">
          <ac:chgData name="Manne-Goehler, Jennifer M.,MD, SCD" userId="49ad1595-1fab-43f1-84d2-48398eae49ea" providerId="ADAL" clId="{45291681-4A1D-447D-9C10-3102B3B07050}" dt="2025-11-04T03:37:05.834" v="1964" actId="478"/>
          <ac:spMkLst>
            <pc:docMk/>
            <pc:sldMk cId="1776174473" sldId="687"/>
            <ac:spMk id="2" creationId="{687DB3B8-108E-0015-C093-9178B4816C72}"/>
          </ac:spMkLst>
        </pc:spChg>
        <pc:spChg chg="mod">
          <ac:chgData name="Manne-Goehler, Jennifer M.,MD, SCD" userId="49ad1595-1fab-43f1-84d2-48398eae49ea" providerId="ADAL" clId="{45291681-4A1D-447D-9C10-3102B3B07050}" dt="2025-11-04T03:37:17.230" v="1993" actId="20577"/>
          <ac:spMkLst>
            <pc:docMk/>
            <pc:sldMk cId="1776174473" sldId="687"/>
            <ac:spMk id="5" creationId="{893EFC4D-1792-7478-11C9-A6BEF764EF1F}"/>
          </ac:spMkLst>
        </pc:spChg>
        <pc:picChg chg="add mod">
          <ac:chgData name="Manne-Goehler, Jennifer M.,MD, SCD" userId="49ad1595-1fab-43f1-84d2-48398eae49ea" providerId="ADAL" clId="{45291681-4A1D-447D-9C10-3102B3B07050}" dt="2025-11-04T03:37:09.459" v="1965" actId="1076"/>
          <ac:picMkLst>
            <pc:docMk/>
            <pc:sldMk cId="1776174473" sldId="687"/>
            <ac:picMk id="3" creationId="{653BB0F4-F1A1-6806-3787-107031A46E69}"/>
          </ac:picMkLst>
        </pc:picChg>
      </pc:sldChg>
      <pc:sldChg chg="addSp delSp modSp new mod">
        <pc:chgData name="Manne-Goehler, Jennifer M.,MD, SCD" userId="49ad1595-1fab-43f1-84d2-48398eae49ea" providerId="ADAL" clId="{45291681-4A1D-447D-9C10-3102B3B07050}" dt="2025-11-04T03:44:59.189" v="2082" actId="20577"/>
        <pc:sldMkLst>
          <pc:docMk/>
          <pc:sldMk cId="4178994810" sldId="688"/>
        </pc:sldMkLst>
        <pc:spChg chg="del">
          <ac:chgData name="Manne-Goehler, Jennifer M.,MD, SCD" userId="49ad1595-1fab-43f1-84d2-48398eae49ea" providerId="ADAL" clId="{45291681-4A1D-447D-9C10-3102B3B07050}" dt="2025-11-04T03:39:47.240" v="2044" actId="478"/>
          <ac:spMkLst>
            <pc:docMk/>
            <pc:sldMk cId="4178994810" sldId="688"/>
            <ac:spMk id="2" creationId="{B7FF5369-3C81-70E4-CAA1-5B4F8D5ACCB2}"/>
          </ac:spMkLst>
        </pc:spChg>
        <pc:spChg chg="add mod">
          <ac:chgData name="Manne-Goehler, Jennifer M.,MD, SCD" userId="49ad1595-1fab-43f1-84d2-48398eae49ea" providerId="ADAL" clId="{45291681-4A1D-447D-9C10-3102B3B07050}" dt="2025-11-04T03:44:59.189" v="2082" actId="20577"/>
          <ac:spMkLst>
            <pc:docMk/>
            <pc:sldMk cId="4178994810" sldId="688"/>
            <ac:spMk id="3" creationId="{8A013EBD-C31E-F796-415B-586064E8D874}"/>
          </ac:spMkLst>
        </pc:spChg>
        <pc:spChg chg="add 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5" creationId="{812602C3-49A9-5AE6-62EA-08782D40279E}"/>
          </ac:spMkLst>
        </pc:spChg>
        <pc:spChg chg="mod">
          <ac:chgData name="Manne-Goehler, Jennifer M.,MD, SCD" userId="49ad1595-1fab-43f1-84d2-48398eae49ea" providerId="ADAL" clId="{45291681-4A1D-447D-9C10-3102B3B07050}" dt="2025-11-04T03:39:08.945" v="2038" actId="1076"/>
          <ac:spMkLst>
            <pc:docMk/>
            <pc:sldMk cId="4178994810" sldId="688"/>
            <ac:spMk id="6" creationId="{3E02578B-2E22-3A84-9E46-CEE5E31AC45F}"/>
          </ac:spMkLst>
        </pc:spChg>
        <pc:spChg chg="add 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7" creationId="{00892C18-9B71-862C-C774-ACA3CFFCA8D9}"/>
          </ac:spMkLst>
        </pc:spChg>
        <pc:spChg chg="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8" creationId="{E10EB3FE-2BF1-D0EA-D9C3-9E1F56114F2A}"/>
          </ac:spMkLst>
        </pc:spChg>
        <pc:spChg chg="add 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9" creationId="{BFF188EA-1071-F37C-CB53-E2C87AD4297D}"/>
          </ac:spMkLst>
        </pc:spChg>
        <pc:spChg chg="mod">
          <ac:chgData name="Manne-Goehler, Jennifer M.,MD, SCD" userId="49ad1595-1fab-43f1-84d2-48398eae49ea" providerId="ADAL" clId="{45291681-4A1D-447D-9C10-3102B3B07050}" dt="2025-11-04T03:39:04.660" v="2037"/>
          <ac:spMkLst>
            <pc:docMk/>
            <pc:sldMk cId="4178994810" sldId="688"/>
            <ac:spMk id="13" creationId="{532C40F3-A6B7-D282-071A-47A6882B0DC1}"/>
          </ac:spMkLst>
        </pc:spChg>
        <pc:spChg chg="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14" creationId="{EB737C6A-E4E8-9614-EEE5-2846036C0093}"/>
          </ac:spMkLst>
        </pc:spChg>
        <pc:spChg chg="add 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16" creationId="{4449D766-A636-620F-4657-13A50C5154FD}"/>
          </ac:spMkLst>
        </pc:spChg>
        <pc:spChg chg="mod">
          <ac:chgData name="Manne-Goehler, Jennifer M.,MD, SCD" userId="49ad1595-1fab-43f1-84d2-48398eae49ea" providerId="ADAL" clId="{45291681-4A1D-447D-9C10-3102B3B07050}" dt="2025-11-04T03:39:04.660" v="2037"/>
          <ac:spMkLst>
            <pc:docMk/>
            <pc:sldMk cId="4178994810" sldId="688"/>
            <ac:spMk id="19" creationId="{815FDAA4-A8CE-79CF-5F5F-66C9E2F17BF9}"/>
          </ac:spMkLst>
        </pc:spChg>
        <pc:spChg chg="mod">
          <ac:chgData name="Manne-Goehler, Jennifer M.,MD, SCD" userId="49ad1595-1fab-43f1-84d2-48398eae49ea" providerId="ADAL" clId="{45291681-4A1D-447D-9C10-3102B3B07050}" dt="2025-11-04T03:39:04.660" v="2037"/>
          <ac:spMkLst>
            <pc:docMk/>
            <pc:sldMk cId="4178994810" sldId="688"/>
            <ac:spMk id="23" creationId="{50C17023-289D-8DA0-A4EA-05336F9F530E}"/>
          </ac:spMkLst>
        </pc:spChg>
        <pc:spChg chg="add 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24" creationId="{A0A8B012-D34B-2588-314E-9AFA5A66823A}"/>
          </ac:spMkLst>
        </pc:spChg>
        <pc:spChg chg="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26" creationId="{9032EA40-4D85-57E2-85F6-A17ADFF8C1C9}"/>
          </ac:spMkLst>
        </pc:spChg>
        <pc:spChg chg="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31" creationId="{07163948-3B71-5EEF-9889-A5450AA7B204}"/>
          </ac:spMkLst>
        </pc:spChg>
        <pc:spChg chg="mod">
          <ac:chgData name="Manne-Goehler, Jennifer M.,MD, SCD" userId="49ad1595-1fab-43f1-84d2-48398eae49ea" providerId="ADAL" clId="{45291681-4A1D-447D-9C10-3102B3B07050}" dt="2025-11-04T03:39:19.026" v="2040" actId="1076"/>
          <ac:spMkLst>
            <pc:docMk/>
            <pc:sldMk cId="4178994810" sldId="688"/>
            <ac:spMk id="33" creationId="{7501C7ED-0E7F-C76D-2181-BAC97A0ECCDC}"/>
          </ac:spMkLst>
        </pc:spChg>
        <pc:spChg chg="mod">
          <ac:chgData name="Manne-Goehler, Jennifer M.,MD, SCD" userId="49ad1595-1fab-43f1-84d2-48398eae49ea" providerId="ADAL" clId="{45291681-4A1D-447D-9C10-3102B3B07050}" dt="2025-11-04T03:39:04.660" v="2037"/>
          <ac:spMkLst>
            <pc:docMk/>
            <pc:sldMk cId="4178994810" sldId="688"/>
            <ac:spMk id="36" creationId="{83E25AB6-9734-A5F9-9E2F-465D4CBCEAB4}"/>
          </ac:spMkLst>
        </pc:spChg>
        <pc:spChg chg="mod">
          <ac:chgData name="Manne-Goehler, Jennifer M.,MD, SCD" userId="49ad1595-1fab-43f1-84d2-48398eae49ea" providerId="ADAL" clId="{45291681-4A1D-447D-9C10-3102B3B07050}" dt="2025-11-04T03:39:23.991" v="2041" actId="1076"/>
          <ac:spMkLst>
            <pc:docMk/>
            <pc:sldMk cId="4178994810" sldId="688"/>
            <ac:spMk id="37" creationId="{A527527F-E294-3553-5997-86D383EE79E1}"/>
          </ac:spMkLst>
        </pc:spChg>
        <pc:grpChg chg="add mod">
          <ac:chgData name="Manne-Goehler, Jennifer M.,MD, SCD" userId="49ad1595-1fab-43f1-84d2-48398eae49ea" providerId="ADAL" clId="{45291681-4A1D-447D-9C10-3102B3B07050}" dt="2025-11-04T03:40:20.288" v="2052" actId="1076"/>
          <ac:grpSpMkLst>
            <pc:docMk/>
            <pc:sldMk cId="4178994810" sldId="688"/>
            <ac:grpSpMk id="38" creationId="{4CB1FC38-3395-7793-797D-9FD73052E1E3}"/>
          </ac:grpSpMkLst>
        </pc:grpChg>
        <pc:grpChg chg="add mod">
          <ac:chgData name="Manne-Goehler, Jennifer M.,MD, SCD" userId="49ad1595-1fab-43f1-84d2-48398eae49ea" providerId="ADAL" clId="{45291681-4A1D-447D-9C10-3102B3B07050}" dt="2025-11-04T03:40:18.241" v="2051" actId="1076"/>
          <ac:grpSpMkLst>
            <pc:docMk/>
            <pc:sldMk cId="4178994810" sldId="688"/>
            <ac:grpSpMk id="41" creationId="{CAAD4D8C-9132-AD21-5FCA-10CF77A9D467}"/>
          </ac:grpSpMkLst>
        </pc:grpChg>
        <pc:picChg chg="mod">
          <ac:chgData name="Manne-Goehler, Jennifer M.,MD, SCD" userId="49ad1595-1fab-43f1-84d2-48398eae49ea" providerId="ADAL" clId="{45291681-4A1D-447D-9C10-3102B3B07050}" dt="2025-11-04T03:39:41.582" v="2042"/>
          <ac:picMkLst>
            <pc:docMk/>
            <pc:sldMk cId="4178994810" sldId="688"/>
            <ac:picMk id="39" creationId="{1EDCD2F1-1D09-0A5A-4014-8E4155AE1A98}"/>
          </ac:picMkLst>
        </pc:picChg>
        <pc:picChg chg="mod">
          <ac:chgData name="Manne-Goehler, Jennifer M.,MD, SCD" userId="49ad1595-1fab-43f1-84d2-48398eae49ea" providerId="ADAL" clId="{45291681-4A1D-447D-9C10-3102B3B07050}" dt="2025-11-04T03:39:41.582" v="2042"/>
          <ac:picMkLst>
            <pc:docMk/>
            <pc:sldMk cId="4178994810" sldId="688"/>
            <ac:picMk id="40" creationId="{2BF90AFC-E31A-4C3E-AFA3-2971E6BE9F3A}"/>
          </ac:picMkLst>
        </pc:picChg>
        <pc:picChg chg="mod">
          <ac:chgData name="Manne-Goehler, Jennifer M.,MD, SCD" userId="49ad1595-1fab-43f1-84d2-48398eae49ea" providerId="ADAL" clId="{45291681-4A1D-447D-9C10-3102B3B07050}" dt="2025-11-04T03:40:05.572" v="2046"/>
          <ac:picMkLst>
            <pc:docMk/>
            <pc:sldMk cId="4178994810" sldId="688"/>
            <ac:picMk id="42" creationId="{494A6839-9440-3EFB-033B-8728788BFA30}"/>
          </ac:picMkLst>
        </pc:picChg>
        <pc:picChg chg="mod">
          <ac:chgData name="Manne-Goehler, Jennifer M.,MD, SCD" userId="49ad1595-1fab-43f1-84d2-48398eae49ea" providerId="ADAL" clId="{45291681-4A1D-447D-9C10-3102B3B07050}" dt="2025-11-04T03:40:05.572" v="2046"/>
          <ac:picMkLst>
            <pc:docMk/>
            <pc:sldMk cId="4178994810" sldId="688"/>
            <ac:picMk id="43" creationId="{7AEFC4E8-E289-FFB8-00F2-4A3AAFC08CBB}"/>
          </ac:picMkLst>
        </pc:picChg>
      </pc:sldChg>
      <pc:sldChg chg="addSp modSp add mod">
        <pc:chgData name="Manne-Goehler, Jennifer M.,MD, SCD" userId="49ad1595-1fab-43f1-84d2-48398eae49ea" providerId="ADAL" clId="{45291681-4A1D-447D-9C10-3102B3B07050}" dt="2025-11-04T04:09:13.658" v="2567" actId="1076"/>
        <pc:sldMkLst>
          <pc:docMk/>
          <pc:sldMk cId="2779879431" sldId="689"/>
        </pc:sldMkLst>
        <pc:spChg chg="add mod">
          <ac:chgData name="Manne-Goehler, Jennifer M.,MD, SCD" userId="49ad1595-1fab-43f1-84d2-48398eae49ea" providerId="ADAL" clId="{45291681-4A1D-447D-9C10-3102B3B07050}" dt="2025-11-04T04:09:13.658" v="2567" actId="1076"/>
          <ac:spMkLst>
            <pc:docMk/>
            <pc:sldMk cId="2779879431" sldId="689"/>
            <ac:spMk id="2" creationId="{6757EA2C-1083-7F1F-B7E5-5D5101AD40D2}"/>
          </ac:spMkLst>
        </pc:spChg>
        <pc:spChg chg="mod">
          <ac:chgData name="Manne-Goehler, Jennifer M.,MD, SCD" userId="49ad1595-1fab-43f1-84d2-48398eae49ea" providerId="ADAL" clId="{45291681-4A1D-447D-9C10-3102B3B07050}" dt="2025-11-04T03:56:47.197" v="2191" actId="20577"/>
          <ac:spMkLst>
            <pc:docMk/>
            <pc:sldMk cId="2779879431" sldId="689"/>
            <ac:spMk id="5" creationId="{C7F314AA-2CFA-85CC-1953-E81BBA9F2E90}"/>
          </ac:spMkLst>
        </pc:spChg>
      </pc:sldChg>
      <pc:sldMasterChg chg="del delSldLayout">
        <pc:chgData name="Manne-Goehler, Jennifer M.,MD, SCD" userId="49ad1595-1fab-43f1-84d2-48398eae49ea" providerId="ADAL" clId="{45291681-4A1D-447D-9C10-3102B3B07050}" dt="2025-11-04T02:54:35.761" v="1073" actId="47"/>
        <pc:sldMasterMkLst>
          <pc:docMk/>
          <pc:sldMasterMk cId="2240359872" sldId="2147483660"/>
        </pc:sldMasterMkLst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814578845" sldId="2147483661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1898718368" sldId="2147483662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396742904" sldId="2147483663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1573958049" sldId="2147483664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515794523" sldId="2147483665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039159609" sldId="2147483666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1936539595" sldId="2147483667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582937800" sldId="2147483668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73369241" sldId="2147483669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2475421840" sldId="2147483670"/>
          </pc:sldLayoutMkLst>
        </pc:sldLayoutChg>
        <pc:sldLayoutChg chg="del">
          <pc:chgData name="Manne-Goehler, Jennifer M.,MD, SCD" userId="49ad1595-1fab-43f1-84d2-48398eae49ea" providerId="ADAL" clId="{45291681-4A1D-447D-9C10-3102B3B07050}" dt="2025-11-04T02:54:35.761" v="1073" actId="47"/>
          <pc:sldLayoutMkLst>
            <pc:docMk/>
            <pc:sldMasterMk cId="2240359872" sldId="2147483660"/>
            <pc:sldLayoutMk cId="1611948632" sldId="2147483671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image" Target="../media/image2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image" Target="../media/image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720856-93F0-4CC7-B7FD-2466914A11D4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2" csCatId="colorful" phldr="1"/>
      <dgm:spPr/>
      <dgm:t>
        <a:bodyPr/>
        <a:lstStyle/>
        <a:p>
          <a:endParaRPr lang="en-US"/>
        </a:p>
      </dgm:t>
    </dgm:pt>
    <dgm:pt modelId="{81BEB84D-9A77-49C6-9301-B3359FCAC75F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Treating obesity &amp; preventing T2D in PLWH on modern ART</a:t>
          </a:r>
        </a:p>
      </dgm:t>
    </dgm:pt>
    <dgm:pt modelId="{AE4D0D43-0332-4F79-8D35-BCD8C10758AE}" type="parTrans" cxnId="{420EF6C4-7321-43BE-A2FC-253606B1E06A}">
      <dgm:prSet/>
      <dgm:spPr/>
      <dgm:t>
        <a:bodyPr/>
        <a:lstStyle/>
        <a:p>
          <a:endParaRPr lang="en-US" sz="1400"/>
        </a:p>
      </dgm:t>
    </dgm:pt>
    <dgm:pt modelId="{5D260F18-25D2-4074-87F1-7E78DDA61C58}" type="sibTrans" cxnId="{420EF6C4-7321-43BE-A2FC-253606B1E06A}">
      <dgm:prSet/>
      <dgm:spPr/>
      <dgm:t>
        <a:bodyPr/>
        <a:lstStyle/>
        <a:p>
          <a:endParaRPr lang="en-US"/>
        </a:p>
      </dgm:t>
    </dgm:pt>
    <dgm:pt modelId="{BFF9359E-E9B1-4B73-BACC-2C7988765B16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Implications for public health &amp; clinical practice in HIV</a:t>
          </a:r>
        </a:p>
      </dgm:t>
    </dgm:pt>
    <dgm:pt modelId="{1CEF1965-C516-4C44-BAE3-2FA3F5116930}" type="sibTrans" cxnId="{516EC545-1971-48B3-978C-4756FCDCCFD9}">
      <dgm:prSet/>
      <dgm:spPr/>
      <dgm:t>
        <a:bodyPr/>
        <a:lstStyle/>
        <a:p>
          <a:endParaRPr lang="en-US"/>
        </a:p>
      </dgm:t>
    </dgm:pt>
    <dgm:pt modelId="{6E0A40FA-1B79-4089-8B9A-3BA22865FE4E}" type="parTrans" cxnId="{516EC545-1971-48B3-978C-4756FCDCCFD9}">
      <dgm:prSet/>
      <dgm:spPr/>
      <dgm:t>
        <a:bodyPr/>
        <a:lstStyle/>
        <a:p>
          <a:endParaRPr lang="en-US" sz="1400"/>
        </a:p>
      </dgm:t>
    </dgm:pt>
    <dgm:pt modelId="{671277DA-DEE7-47A9-97C7-7870F5C10710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Liraglutide for Obesity in HIV (LIROH) – a trial in KZN</a:t>
          </a:r>
        </a:p>
      </dgm:t>
    </dgm:pt>
    <dgm:pt modelId="{5ACD63A0-1B04-4386-A611-D7462ACB4629}" type="parTrans" cxnId="{78A28C52-8816-4622-8129-44C3674699C2}">
      <dgm:prSet/>
      <dgm:spPr/>
      <dgm:t>
        <a:bodyPr/>
        <a:lstStyle/>
        <a:p>
          <a:endParaRPr lang="en-US"/>
        </a:p>
      </dgm:t>
    </dgm:pt>
    <dgm:pt modelId="{EDBDCE2E-7931-432E-B3C6-203C6EB183B5}" type="sibTrans" cxnId="{78A28C52-8816-4622-8129-44C3674699C2}">
      <dgm:prSet/>
      <dgm:spPr/>
      <dgm:t>
        <a:bodyPr/>
        <a:lstStyle/>
        <a:p>
          <a:endParaRPr lang="en-US"/>
        </a:p>
      </dgm:t>
    </dgm:pt>
    <dgm:pt modelId="{333BA55A-4FB9-4CDB-BE45-5B2839A9588A}" type="pres">
      <dgm:prSet presAssocID="{C7720856-93F0-4CC7-B7FD-2466914A11D4}" presName="root" presStyleCnt="0">
        <dgm:presLayoutVars>
          <dgm:dir/>
          <dgm:resizeHandles val="exact"/>
        </dgm:presLayoutVars>
      </dgm:prSet>
      <dgm:spPr/>
    </dgm:pt>
    <dgm:pt modelId="{FCE925AA-5329-46CB-93D2-5C01F58583CE}" type="pres">
      <dgm:prSet presAssocID="{81BEB84D-9A77-49C6-9301-B3359FCAC75F}" presName="compNode" presStyleCnt="0"/>
      <dgm:spPr/>
    </dgm:pt>
    <dgm:pt modelId="{3A0D703B-098B-4E59-8765-DFD90796F008}" type="pres">
      <dgm:prSet presAssocID="{81BEB84D-9A77-49C6-9301-B3359FCAC75F}" presName="bgRect" presStyleLbl="bgShp" presStyleIdx="0" presStyleCnt="3"/>
      <dgm:spPr/>
    </dgm:pt>
    <dgm:pt modelId="{F065CC5F-0D7E-438D-A290-6D28C1B3EDF2}" type="pres">
      <dgm:prSet presAssocID="{81BEB84D-9A77-49C6-9301-B3359FCAC75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rection with solid fill"/>
        </a:ext>
      </dgm:extLst>
    </dgm:pt>
    <dgm:pt modelId="{FCFDB9D5-350E-4BFF-92DC-C71BD2A82972}" type="pres">
      <dgm:prSet presAssocID="{81BEB84D-9A77-49C6-9301-B3359FCAC75F}" presName="spaceRect" presStyleCnt="0"/>
      <dgm:spPr/>
    </dgm:pt>
    <dgm:pt modelId="{4CBA5ED1-114D-4BE5-A41A-79565ED13248}" type="pres">
      <dgm:prSet presAssocID="{81BEB84D-9A77-49C6-9301-B3359FCAC75F}" presName="parTx" presStyleLbl="revTx" presStyleIdx="0" presStyleCnt="3" custLinFactNeighborX="-54">
        <dgm:presLayoutVars>
          <dgm:chMax val="0"/>
          <dgm:chPref val="0"/>
        </dgm:presLayoutVars>
      </dgm:prSet>
      <dgm:spPr/>
    </dgm:pt>
    <dgm:pt modelId="{321A91E4-7EA2-4DC4-BAB1-AA394CB05F71}" type="pres">
      <dgm:prSet presAssocID="{5D260F18-25D2-4074-87F1-7E78DDA61C58}" presName="sibTrans" presStyleCnt="0"/>
      <dgm:spPr/>
    </dgm:pt>
    <dgm:pt modelId="{0F30CE85-96E7-4664-91F1-0C65E552E73F}" type="pres">
      <dgm:prSet presAssocID="{671277DA-DEE7-47A9-97C7-7870F5C10710}" presName="compNode" presStyleCnt="0"/>
      <dgm:spPr/>
    </dgm:pt>
    <dgm:pt modelId="{2A43A610-8548-4760-843F-05569DCFDDB4}" type="pres">
      <dgm:prSet presAssocID="{671277DA-DEE7-47A9-97C7-7870F5C10710}" presName="bgRect" presStyleLbl="bgShp" presStyleIdx="1" presStyleCnt="3" custLinFactNeighborX="2" custLinFactNeighborY="1705"/>
      <dgm:spPr/>
    </dgm:pt>
    <dgm:pt modelId="{D917D112-9565-4FDD-9EEF-BCB9519A3CE3}" type="pres">
      <dgm:prSet presAssocID="{671277DA-DEE7-47A9-97C7-7870F5C10710}" presName="iconRect" presStyleLbl="node1" presStyleIdx="1" presStyleCnt="3"/>
      <dgm:spPr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solidFill>
            <a:schemeClr val="bg1">
              <a:alpha val="0"/>
            </a:schemeClr>
          </a:solidFill>
        </a:ln>
      </dgm:spPr>
      <dgm:extLst>
        <a:ext uri="{E40237B7-FDA0-4F09-8148-C483321AD2D9}">
          <dgm14:cNvPr xmlns:dgm14="http://schemas.microsoft.com/office/drawing/2010/diagram" id="0" name="" descr="Direction outline"/>
        </a:ext>
      </dgm:extLst>
    </dgm:pt>
    <dgm:pt modelId="{935FB5A2-62D4-4CB5-8C4B-DEAE8A5AE410}" type="pres">
      <dgm:prSet presAssocID="{671277DA-DEE7-47A9-97C7-7870F5C10710}" presName="spaceRect" presStyleCnt="0"/>
      <dgm:spPr/>
    </dgm:pt>
    <dgm:pt modelId="{FDECD6BA-4210-45F6-8CC7-18A4FCC1F0C1}" type="pres">
      <dgm:prSet presAssocID="{671277DA-DEE7-47A9-97C7-7870F5C10710}" presName="parTx" presStyleLbl="revTx" presStyleIdx="1" presStyleCnt="3">
        <dgm:presLayoutVars>
          <dgm:chMax val="0"/>
          <dgm:chPref val="0"/>
        </dgm:presLayoutVars>
      </dgm:prSet>
      <dgm:spPr/>
    </dgm:pt>
    <dgm:pt modelId="{864AD4DB-5F83-4AAE-9756-2747A1233525}" type="pres">
      <dgm:prSet presAssocID="{EDBDCE2E-7931-432E-B3C6-203C6EB183B5}" presName="sibTrans" presStyleCnt="0"/>
      <dgm:spPr/>
    </dgm:pt>
    <dgm:pt modelId="{F8B60166-DAD7-43EB-A140-0C239D20F607}" type="pres">
      <dgm:prSet presAssocID="{BFF9359E-E9B1-4B73-BACC-2C7988765B16}" presName="compNode" presStyleCnt="0"/>
      <dgm:spPr/>
    </dgm:pt>
    <dgm:pt modelId="{752F83EC-7F2D-41AA-973E-014FDB46F0D7}" type="pres">
      <dgm:prSet presAssocID="{BFF9359E-E9B1-4B73-BACC-2C7988765B16}" presName="bgRect" presStyleLbl="bgShp" presStyleIdx="2" presStyleCnt="3" custLinFactNeighborY="-1255"/>
      <dgm:spPr/>
    </dgm:pt>
    <dgm:pt modelId="{364BF251-23E8-4976-BDA1-862737AF35BC}" type="pres">
      <dgm:prSet presAssocID="{BFF9359E-E9B1-4B73-BACC-2C7988765B16}" presName="iconRect" presStyleLbl="node1" presStyleIdx="2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rection with solid fill"/>
        </a:ext>
      </dgm:extLst>
    </dgm:pt>
    <dgm:pt modelId="{DE144953-173A-42D5-AAA7-59C3FDE13693}" type="pres">
      <dgm:prSet presAssocID="{BFF9359E-E9B1-4B73-BACC-2C7988765B16}" presName="spaceRect" presStyleCnt="0"/>
      <dgm:spPr/>
    </dgm:pt>
    <dgm:pt modelId="{34A44A9A-99AA-49EC-92E7-07AA5F4F4AA9}" type="pres">
      <dgm:prSet presAssocID="{BFF9359E-E9B1-4B73-BACC-2C7988765B16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DA68719-7C98-4C82-A824-19ED827E8E17}" type="presOf" srcId="{671277DA-DEE7-47A9-97C7-7870F5C10710}" destId="{FDECD6BA-4210-45F6-8CC7-18A4FCC1F0C1}" srcOrd="0" destOrd="0" presId="urn:microsoft.com/office/officeart/2018/2/layout/IconVerticalSolidList"/>
    <dgm:cxn modelId="{516EC545-1971-48B3-978C-4756FCDCCFD9}" srcId="{C7720856-93F0-4CC7-B7FD-2466914A11D4}" destId="{BFF9359E-E9B1-4B73-BACC-2C7988765B16}" srcOrd="2" destOrd="0" parTransId="{6E0A40FA-1B79-4089-8B9A-3BA22865FE4E}" sibTransId="{1CEF1965-C516-4C44-BAE3-2FA3F5116930}"/>
    <dgm:cxn modelId="{F1E9AD4D-7C1F-493B-89A3-3A0401C7F74D}" type="presOf" srcId="{C7720856-93F0-4CC7-B7FD-2466914A11D4}" destId="{333BA55A-4FB9-4CDB-BE45-5B2839A9588A}" srcOrd="0" destOrd="0" presId="urn:microsoft.com/office/officeart/2018/2/layout/IconVerticalSolidList"/>
    <dgm:cxn modelId="{78A28C52-8816-4622-8129-44C3674699C2}" srcId="{C7720856-93F0-4CC7-B7FD-2466914A11D4}" destId="{671277DA-DEE7-47A9-97C7-7870F5C10710}" srcOrd="1" destOrd="0" parTransId="{5ACD63A0-1B04-4386-A611-D7462ACB4629}" sibTransId="{EDBDCE2E-7931-432E-B3C6-203C6EB183B5}"/>
    <dgm:cxn modelId="{60350D80-8174-4057-A312-D5F683E954C7}" type="presOf" srcId="{BFF9359E-E9B1-4B73-BACC-2C7988765B16}" destId="{34A44A9A-99AA-49EC-92E7-07AA5F4F4AA9}" srcOrd="0" destOrd="0" presId="urn:microsoft.com/office/officeart/2018/2/layout/IconVerticalSolidList"/>
    <dgm:cxn modelId="{420EF6C4-7321-43BE-A2FC-253606B1E06A}" srcId="{C7720856-93F0-4CC7-B7FD-2466914A11D4}" destId="{81BEB84D-9A77-49C6-9301-B3359FCAC75F}" srcOrd="0" destOrd="0" parTransId="{AE4D0D43-0332-4F79-8D35-BCD8C10758AE}" sibTransId="{5D260F18-25D2-4074-87F1-7E78DDA61C58}"/>
    <dgm:cxn modelId="{338505E0-CC43-41AA-9A33-5100B0388004}" type="presOf" srcId="{81BEB84D-9A77-49C6-9301-B3359FCAC75F}" destId="{4CBA5ED1-114D-4BE5-A41A-79565ED13248}" srcOrd="0" destOrd="0" presId="urn:microsoft.com/office/officeart/2018/2/layout/IconVerticalSolidList"/>
    <dgm:cxn modelId="{5AFB4739-BB8D-41E0-BF7F-82EE817A994F}" type="presParOf" srcId="{333BA55A-4FB9-4CDB-BE45-5B2839A9588A}" destId="{FCE925AA-5329-46CB-93D2-5C01F58583CE}" srcOrd="0" destOrd="0" presId="urn:microsoft.com/office/officeart/2018/2/layout/IconVerticalSolidList"/>
    <dgm:cxn modelId="{0296E0CF-0304-4D4E-A571-12A4879B806A}" type="presParOf" srcId="{FCE925AA-5329-46CB-93D2-5C01F58583CE}" destId="{3A0D703B-098B-4E59-8765-DFD90796F008}" srcOrd="0" destOrd="0" presId="urn:microsoft.com/office/officeart/2018/2/layout/IconVerticalSolidList"/>
    <dgm:cxn modelId="{AF394E67-8F80-471B-8461-65FD1336AC0D}" type="presParOf" srcId="{FCE925AA-5329-46CB-93D2-5C01F58583CE}" destId="{F065CC5F-0D7E-438D-A290-6D28C1B3EDF2}" srcOrd="1" destOrd="0" presId="urn:microsoft.com/office/officeart/2018/2/layout/IconVerticalSolidList"/>
    <dgm:cxn modelId="{B2DAC8C6-CCBB-4FA1-9CC0-22F3C6DAEDCD}" type="presParOf" srcId="{FCE925AA-5329-46CB-93D2-5C01F58583CE}" destId="{FCFDB9D5-350E-4BFF-92DC-C71BD2A82972}" srcOrd="2" destOrd="0" presId="urn:microsoft.com/office/officeart/2018/2/layout/IconVerticalSolidList"/>
    <dgm:cxn modelId="{211B67FA-043E-4B86-824A-54AE9EAC7EC8}" type="presParOf" srcId="{FCE925AA-5329-46CB-93D2-5C01F58583CE}" destId="{4CBA5ED1-114D-4BE5-A41A-79565ED13248}" srcOrd="3" destOrd="0" presId="urn:microsoft.com/office/officeart/2018/2/layout/IconVerticalSolidList"/>
    <dgm:cxn modelId="{40B6896F-2218-4282-87E6-B400E8C404E2}" type="presParOf" srcId="{333BA55A-4FB9-4CDB-BE45-5B2839A9588A}" destId="{321A91E4-7EA2-4DC4-BAB1-AA394CB05F71}" srcOrd="1" destOrd="0" presId="urn:microsoft.com/office/officeart/2018/2/layout/IconVerticalSolidList"/>
    <dgm:cxn modelId="{537AE950-ED2F-42FB-AE90-7C5EDFD833F4}" type="presParOf" srcId="{333BA55A-4FB9-4CDB-BE45-5B2839A9588A}" destId="{0F30CE85-96E7-4664-91F1-0C65E552E73F}" srcOrd="2" destOrd="0" presId="urn:microsoft.com/office/officeart/2018/2/layout/IconVerticalSolidList"/>
    <dgm:cxn modelId="{6483239D-CF8A-4DA6-ADD5-7E6F241A5EE1}" type="presParOf" srcId="{0F30CE85-96E7-4664-91F1-0C65E552E73F}" destId="{2A43A610-8548-4760-843F-05569DCFDDB4}" srcOrd="0" destOrd="0" presId="urn:microsoft.com/office/officeart/2018/2/layout/IconVerticalSolidList"/>
    <dgm:cxn modelId="{A0357A90-EC8D-4C4A-9098-FB1BC29A03BC}" type="presParOf" srcId="{0F30CE85-96E7-4664-91F1-0C65E552E73F}" destId="{D917D112-9565-4FDD-9EEF-BCB9519A3CE3}" srcOrd="1" destOrd="0" presId="urn:microsoft.com/office/officeart/2018/2/layout/IconVerticalSolidList"/>
    <dgm:cxn modelId="{D983BF54-3FAE-4F43-84D8-B72B2C6A0A5B}" type="presParOf" srcId="{0F30CE85-96E7-4664-91F1-0C65E552E73F}" destId="{935FB5A2-62D4-4CB5-8C4B-DEAE8A5AE410}" srcOrd="2" destOrd="0" presId="urn:microsoft.com/office/officeart/2018/2/layout/IconVerticalSolidList"/>
    <dgm:cxn modelId="{9B2AFAD6-3311-465D-AD47-8465840539BE}" type="presParOf" srcId="{0F30CE85-96E7-4664-91F1-0C65E552E73F}" destId="{FDECD6BA-4210-45F6-8CC7-18A4FCC1F0C1}" srcOrd="3" destOrd="0" presId="urn:microsoft.com/office/officeart/2018/2/layout/IconVerticalSolidList"/>
    <dgm:cxn modelId="{34CAA52D-113A-4FFE-AF1C-F6B6F54367A0}" type="presParOf" srcId="{333BA55A-4FB9-4CDB-BE45-5B2839A9588A}" destId="{864AD4DB-5F83-4AAE-9756-2747A1233525}" srcOrd="3" destOrd="0" presId="urn:microsoft.com/office/officeart/2018/2/layout/IconVerticalSolidList"/>
    <dgm:cxn modelId="{23D5437A-8A93-46B1-B8D4-1EF1E0E292AB}" type="presParOf" srcId="{333BA55A-4FB9-4CDB-BE45-5B2839A9588A}" destId="{F8B60166-DAD7-43EB-A140-0C239D20F607}" srcOrd="4" destOrd="0" presId="urn:microsoft.com/office/officeart/2018/2/layout/IconVerticalSolidList"/>
    <dgm:cxn modelId="{63CCBC70-28AA-46FB-9E0D-069FF164499D}" type="presParOf" srcId="{F8B60166-DAD7-43EB-A140-0C239D20F607}" destId="{752F83EC-7F2D-41AA-973E-014FDB46F0D7}" srcOrd="0" destOrd="0" presId="urn:microsoft.com/office/officeart/2018/2/layout/IconVerticalSolidList"/>
    <dgm:cxn modelId="{E35F0359-159C-453A-97A2-865FFCDC3800}" type="presParOf" srcId="{F8B60166-DAD7-43EB-A140-0C239D20F607}" destId="{364BF251-23E8-4976-BDA1-862737AF35BC}" srcOrd="1" destOrd="0" presId="urn:microsoft.com/office/officeart/2018/2/layout/IconVerticalSolidList"/>
    <dgm:cxn modelId="{DEB8C051-E761-4ECD-BDF7-07E1EBE17273}" type="presParOf" srcId="{F8B60166-DAD7-43EB-A140-0C239D20F607}" destId="{DE144953-173A-42D5-AAA7-59C3FDE13693}" srcOrd="2" destOrd="0" presId="urn:microsoft.com/office/officeart/2018/2/layout/IconVerticalSolidList"/>
    <dgm:cxn modelId="{69726BCD-D74A-4572-9BE3-B4F05E89122C}" type="presParOf" srcId="{F8B60166-DAD7-43EB-A140-0C239D20F607}" destId="{34A44A9A-99AA-49EC-92E7-07AA5F4F4AA9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0D703B-098B-4E59-8765-DFD90796F008}">
      <dsp:nvSpPr>
        <dsp:cNvPr id="0" name=""/>
        <dsp:cNvSpPr/>
      </dsp:nvSpPr>
      <dsp:spPr>
        <a:xfrm>
          <a:off x="0" y="449"/>
          <a:ext cx="11029950" cy="105066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65CC5F-0D7E-438D-A290-6D28C1B3EDF2}">
      <dsp:nvSpPr>
        <dsp:cNvPr id="0" name=""/>
        <dsp:cNvSpPr/>
      </dsp:nvSpPr>
      <dsp:spPr>
        <a:xfrm>
          <a:off x="317827" y="236849"/>
          <a:ext cx="577867" cy="57786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2225" cap="rnd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BA5ED1-114D-4BE5-A41A-79565ED13248}">
      <dsp:nvSpPr>
        <dsp:cNvPr id="0" name=""/>
        <dsp:cNvSpPr/>
      </dsp:nvSpPr>
      <dsp:spPr>
        <a:xfrm>
          <a:off x="1208221" y="449"/>
          <a:ext cx="9816427" cy="1050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196" tIns="111196" rIns="111196" bIns="11119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Treating obesity &amp; preventing T2D in PLWH on modern ART</a:t>
          </a:r>
        </a:p>
      </dsp:txBody>
      <dsp:txXfrm>
        <a:off x="1208221" y="449"/>
        <a:ext cx="9816427" cy="1050668"/>
      </dsp:txXfrm>
    </dsp:sp>
    <dsp:sp modelId="{2A43A610-8548-4760-843F-05569DCFDDB4}">
      <dsp:nvSpPr>
        <dsp:cNvPr id="0" name=""/>
        <dsp:cNvSpPr/>
      </dsp:nvSpPr>
      <dsp:spPr>
        <a:xfrm>
          <a:off x="0" y="1331698"/>
          <a:ext cx="11029950" cy="1050668"/>
        </a:xfrm>
        <a:prstGeom prst="roundRect">
          <a:avLst>
            <a:gd name="adj" fmla="val 10000"/>
          </a:avLst>
        </a:prstGeom>
        <a:solidFill>
          <a:schemeClr val="accent2">
            <a:hueOff val="-305854"/>
            <a:satOff val="16268"/>
            <a:lumOff val="470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17D112-9565-4FDD-9EEF-BCB9519A3CE3}">
      <dsp:nvSpPr>
        <dsp:cNvPr id="0" name=""/>
        <dsp:cNvSpPr/>
      </dsp:nvSpPr>
      <dsp:spPr>
        <a:xfrm>
          <a:off x="317827" y="1550185"/>
          <a:ext cx="577867" cy="577867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2225" cap="rnd" cmpd="sng" algn="ctr">
          <a:solidFill>
            <a:schemeClr val="bg1">
              <a:alpha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ECD6BA-4210-45F6-8CC7-18A4FCC1F0C1}">
      <dsp:nvSpPr>
        <dsp:cNvPr id="0" name=""/>
        <dsp:cNvSpPr/>
      </dsp:nvSpPr>
      <dsp:spPr>
        <a:xfrm>
          <a:off x="1213522" y="1313784"/>
          <a:ext cx="9816427" cy="1050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196" tIns="111196" rIns="111196" bIns="11119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Liraglutide for Obesity in HIV (LIROH) – a trial in KZN</a:t>
          </a:r>
        </a:p>
      </dsp:txBody>
      <dsp:txXfrm>
        <a:off x="1213522" y="1313784"/>
        <a:ext cx="9816427" cy="1050668"/>
      </dsp:txXfrm>
    </dsp:sp>
    <dsp:sp modelId="{752F83EC-7F2D-41AA-973E-014FDB46F0D7}">
      <dsp:nvSpPr>
        <dsp:cNvPr id="0" name=""/>
        <dsp:cNvSpPr/>
      </dsp:nvSpPr>
      <dsp:spPr>
        <a:xfrm>
          <a:off x="0" y="2613934"/>
          <a:ext cx="11029950" cy="1050668"/>
        </a:xfrm>
        <a:prstGeom prst="roundRect">
          <a:avLst>
            <a:gd name="adj" fmla="val 10000"/>
          </a:avLst>
        </a:prstGeom>
        <a:solidFill>
          <a:schemeClr val="accent2">
            <a:hueOff val="-611709"/>
            <a:satOff val="32535"/>
            <a:lumOff val="941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4BF251-23E8-4976-BDA1-862737AF35BC}">
      <dsp:nvSpPr>
        <dsp:cNvPr id="0" name=""/>
        <dsp:cNvSpPr/>
      </dsp:nvSpPr>
      <dsp:spPr>
        <a:xfrm>
          <a:off x="317827" y="2863520"/>
          <a:ext cx="577867" cy="57786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2225" cap="rnd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A44A9A-99AA-49EC-92E7-07AA5F4F4AA9}">
      <dsp:nvSpPr>
        <dsp:cNvPr id="0" name=""/>
        <dsp:cNvSpPr/>
      </dsp:nvSpPr>
      <dsp:spPr>
        <a:xfrm>
          <a:off x="1213522" y="2627120"/>
          <a:ext cx="9816427" cy="1050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196" tIns="111196" rIns="111196" bIns="11119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Implications for public health &amp; clinical practice in HIV</a:t>
          </a:r>
        </a:p>
      </dsp:txBody>
      <dsp:txXfrm>
        <a:off x="1213522" y="2627120"/>
        <a:ext cx="9816427" cy="10506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EB000E-F7AA-44D3-B469-27F8D9764AD4}" type="datetimeFigureOut">
              <a:rPr lang="en-US" smtClean="0"/>
              <a:t>11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5A4963-FD7B-41FF-AB52-0A1C51D14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52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algn="l"/>
            <a:endParaRPr lang="en-US" sz="12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marL="457200" algn="l"/>
            <a:r>
              <a:rPr lang="en-US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**</a:t>
            </a:r>
            <a:r>
              <a:rPr lang="en-US" sz="1200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his talk focuses on PWH who are stable on ART and at risk of type 2 diabetes</a:t>
            </a:r>
            <a:r>
              <a:rPr lang="en-US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**</a:t>
            </a:r>
            <a:endParaRPr lang="en-US" sz="1200" b="0" i="0" dirty="0">
              <a:solidFill>
                <a:srgbClr val="000000"/>
              </a:solidFill>
              <a:effectLst/>
              <a:latin typeface="+mj-lt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3187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ls adjusted for age, sex, education and prior ART du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549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38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53569B-48D0-4AC9-8B02-7E38C272B04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43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317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2101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CC99A-96D9-6FFF-0778-4A7BB7BBC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7D1C86-68AA-E6DE-8BA2-C97DD4DA88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72E94B-1FA5-1955-E393-F791558F55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5F1BB-5B0F-2611-BD40-EF2FA6DC48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912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7992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2524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0120D-3B8F-0D93-105D-5A0ADE70A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6CB5C5-C8AD-ACEC-4D79-6C5F136679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677C01-496C-9EEF-95D3-958BE380C9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58DF38-E8E8-FE97-1D0A-DE3D3AB124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9830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04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816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7465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7243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8689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5A4963-FD7B-41FF-AB52-0A1C51D149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4762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5A4963-FD7B-41FF-AB52-0A1C51D149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439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0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07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985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9923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671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339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4850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raglutide for Obesity in HIV (LIROH) – a trial in KZ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6001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200" i="1" dirty="0">
              <a:latin typeface="+mj-lt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+mj-lt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5A4963-FD7B-41FF-AB52-0A1C51D149D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852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84EB1A-59DA-40F3-9B99-3D15099B17BA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E2FE5-EB5F-4390-9EDA-4E5F8330D07F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755EA8B-0B25-4AD8-BAA7-6724C731269C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8CDED-37B3-4345-9CB6-B2DE78F921F0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E7405D2-F25B-469B-A0FF-A820EBCB5A7F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B43DE-26DE-4E3D-8976-06C763C8CB49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502A6-F67B-41B2-AC82-9BE1ACAC7F20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91B196-4CCD-4784-BC1D-DD2C6362B334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BDF2F4-069B-465E-8F37-6839A6477313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2A7E4D79-CFAA-4F4F-9E7F-5F1274F92716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F7931-3FDB-409D-B412-72B0DA32F767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4668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0" imgH="350" progId="TCLayout.ActiveDocument.1">
                  <p:embed/>
                </p:oleObj>
              </mc:Choice>
              <mc:Fallback>
                <p:oleObj name="think-cell Slide" r:id="rId14" imgW="350" imgH="35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86903B8E-0CA6-4C81-952E-EA4B219F53E6}" type="datetime1">
              <a:rPr lang="en-US" smtClean="0"/>
              <a:t>11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Relationship Id="rId9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svg"/><Relationship Id="rId9" Type="http://schemas.openxmlformats.org/officeDocument/2006/relationships/image" Target="../media/image33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7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svg"/><Relationship Id="rId3" Type="http://schemas.openxmlformats.org/officeDocument/2006/relationships/image" Target="../media/image44.svg"/><Relationship Id="rId7" Type="http://schemas.openxmlformats.org/officeDocument/2006/relationships/image" Target="../media/image48.svg"/><Relationship Id="rId12" Type="http://schemas.openxmlformats.org/officeDocument/2006/relationships/image" Target="../media/image53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2.svg"/><Relationship Id="rId5" Type="http://schemas.openxmlformats.org/officeDocument/2006/relationships/image" Target="../media/image46.svg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BA3BF-65DD-4840-BD1C-FB95B15C03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8960" y="728110"/>
            <a:ext cx="11392815" cy="1475013"/>
          </a:xfrm>
        </p:spPr>
        <p:txBody>
          <a:bodyPr>
            <a:normAutofit/>
          </a:bodyPr>
          <a:lstStyle/>
          <a:p>
            <a:r>
              <a:rPr lang="en-US" sz="3300" b="1" dirty="0">
                <a:solidFill>
                  <a:schemeClr val="accent3">
                    <a:lumMod val="75000"/>
                  </a:schemeClr>
                </a:solidFill>
              </a:rPr>
              <a:t>TREATING OBESITY &amp; preventing T2D in PWH</a:t>
            </a:r>
            <a:br>
              <a:rPr lang="en-US" sz="4000" dirty="0"/>
            </a:br>
            <a:r>
              <a:rPr lang="en-US" sz="3100" i="1" dirty="0"/>
              <a:t>Lessons from a clinical trial of GLP-1 RAs in SOUTH AFRIC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C56B45-23FB-4E54-9ED5-9D6E37521DCC}"/>
              </a:ext>
            </a:extLst>
          </p:cNvPr>
          <p:cNvSpPr txBox="1"/>
          <p:nvPr/>
        </p:nvSpPr>
        <p:spPr>
          <a:xfrm>
            <a:off x="1085850" y="5058506"/>
            <a:ext cx="1049410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chemeClr val="bg2"/>
                </a:solidFill>
              </a:rPr>
              <a:t>Jen Manne-Goehler, MD, ScD</a:t>
            </a:r>
          </a:p>
          <a:p>
            <a:pPr algn="r"/>
            <a:r>
              <a:rPr lang="en-US" sz="1400" dirty="0">
                <a:solidFill>
                  <a:schemeClr val="bg2"/>
                </a:solidFill>
              </a:rPr>
              <a:t>Assistant Professor, Harvard Medical School</a:t>
            </a:r>
          </a:p>
          <a:p>
            <a:pPr algn="r"/>
            <a:r>
              <a:rPr lang="en-US" sz="1400" dirty="0">
                <a:solidFill>
                  <a:schemeClr val="bg2"/>
                </a:solidFill>
              </a:rPr>
              <a:t>Division of Infectious Diseases, BWH</a:t>
            </a:r>
          </a:p>
          <a:p>
            <a:pPr algn="r"/>
            <a:r>
              <a:rPr lang="en-US" sz="1400" dirty="0">
                <a:solidFill>
                  <a:schemeClr val="bg2"/>
                </a:solidFill>
              </a:rPr>
              <a:t>Medical Practice Evaluation Center, MGH</a:t>
            </a:r>
          </a:p>
          <a:p>
            <a:pPr algn="r"/>
            <a:r>
              <a:rPr lang="en-US" sz="1400" dirty="0">
                <a:solidFill>
                  <a:schemeClr val="bg2"/>
                </a:solidFill>
              </a:rPr>
              <a:t>Email: jmanne@post.harvard.edu</a:t>
            </a:r>
          </a:p>
        </p:txBody>
      </p:sp>
    </p:spTree>
    <p:extLst>
      <p:ext uri="{BB962C8B-B14F-4D97-AF65-F5344CB8AC3E}">
        <p14:creationId xmlns:p14="http://schemas.microsoft.com/office/powerpoint/2010/main" val="137655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The DISCO Metabolic Study in Uganda and South Africa 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  <a:p>
            <a:endParaRPr lang="en-US" sz="2900" dirty="0"/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57EA2C-1083-7F1F-B7E5-5D5101AD40D2}"/>
              </a:ext>
            </a:extLst>
          </p:cNvPr>
          <p:cNvSpPr/>
          <p:nvPr/>
        </p:nvSpPr>
        <p:spPr>
          <a:xfrm>
            <a:off x="505635" y="1597549"/>
            <a:ext cx="541525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+mj-lt"/>
                <a:ea typeface="Calibri" panose="020F0502020204030204" pitchFamily="34" charset="0"/>
              </a:rPr>
              <a:t>Study design</a:t>
            </a:r>
            <a:endParaRPr lang="en-US" sz="2000" dirty="0">
              <a:effectLst/>
              <a:latin typeface="+mj-lt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i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opulation Effectiveness of Dolutegravir Implementation in Sub-Saharan Africa</a:t>
            </a:r>
            <a:endParaRPr lang="en-US" sz="2000" i="1" dirty="0"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j-lt"/>
                <a:ea typeface="Calibri" panose="020F0502020204030204" pitchFamily="34" charset="0"/>
              </a:rPr>
              <a:t>Prospective, o</a:t>
            </a:r>
            <a:r>
              <a:rPr lang="en-US" sz="2000" dirty="0">
                <a:effectLst/>
                <a:latin typeface="+mj-lt"/>
                <a:ea typeface="Calibri" panose="020F0502020204030204" pitchFamily="34" charset="0"/>
              </a:rPr>
              <a:t>bservational cohort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j-lt"/>
                <a:ea typeface="Calibri" panose="020F0502020204030204" pitchFamily="34" charset="0"/>
              </a:rPr>
              <a:t>1,000 people in rural Uganda + South Africa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1F5E85D-AE46-2D7E-B608-E9A4466C8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928" y="3561907"/>
            <a:ext cx="6172780" cy="254649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6243BB0-CA25-126D-D12F-67248B1D2AC1}"/>
              </a:ext>
            </a:extLst>
          </p:cNvPr>
          <p:cNvSpPr txBox="1"/>
          <p:nvPr/>
        </p:nvSpPr>
        <p:spPr>
          <a:xfrm>
            <a:off x="5860741" y="1520170"/>
            <a:ext cx="568495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+mj-lt"/>
                <a:ea typeface="Calibri" panose="020F0502020204030204" pitchFamily="34" charset="0"/>
              </a:rPr>
              <a:t>Study Aims</a:t>
            </a:r>
            <a:endParaRPr lang="en-US" sz="2000" dirty="0">
              <a:effectLst/>
              <a:latin typeface="+mj-lt"/>
              <a:ea typeface="Calibri" panose="020F0502020204030204" pitchFamily="34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j-lt"/>
                <a:ea typeface="Calibri" panose="020F0502020204030204" pitchFamily="34" charset="0"/>
              </a:rPr>
              <a:t>To a</a:t>
            </a:r>
            <a:r>
              <a:rPr lang="en-US" sz="2000" dirty="0">
                <a:effectLst/>
                <a:latin typeface="+mj-lt"/>
                <a:ea typeface="Calibri" panose="020F0502020204030204" pitchFamily="34" charset="0"/>
              </a:rPr>
              <a:t>ssess implementation of TLD in rural clinics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j-lt"/>
                <a:ea typeface="Calibri" panose="020F0502020204030204" pitchFamily="34" charset="0"/>
              </a:rPr>
              <a:t>To q</a:t>
            </a:r>
            <a:r>
              <a:rPr lang="en-US" sz="2000" dirty="0">
                <a:effectLst/>
                <a:latin typeface="+mj-lt"/>
                <a:ea typeface="Calibri" panose="020F0502020204030204" pitchFamily="34" charset="0"/>
              </a:rPr>
              <a:t>uantify viral suppression rates </a:t>
            </a:r>
            <a:r>
              <a:rPr lang="en-US" sz="2000" dirty="0">
                <a:latin typeface="+mj-lt"/>
                <a:ea typeface="Calibri" panose="020F0502020204030204" pitchFamily="34" charset="0"/>
              </a:rPr>
              <a:t>following the transition to </a:t>
            </a:r>
            <a:r>
              <a:rPr lang="en-US" sz="2000" dirty="0">
                <a:effectLst/>
                <a:latin typeface="+mj-lt"/>
                <a:ea typeface="Calibri" panose="020F0502020204030204" pitchFamily="34" charset="0"/>
              </a:rPr>
              <a:t>TLD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j-lt"/>
                <a:ea typeface="Calibri" panose="020F0502020204030204" pitchFamily="34" charset="0"/>
              </a:rPr>
              <a:t>To assess TLD tolerability and discontinuation</a:t>
            </a:r>
            <a:endParaRPr lang="en-US" sz="20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09C216-F04B-DD90-46E4-38CE8398DB6D}"/>
              </a:ext>
            </a:extLst>
          </p:cNvPr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The DISCO Study Team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96733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363983" y="585181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Predicted body weight over 48 weeks in Uganda and South Africa </a:t>
            </a:r>
            <a:endParaRPr lang="en-US" sz="2900" dirty="0">
              <a:solidFill>
                <a:srgbClr val="4590B8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437D8-4335-11C9-4246-6C704545BAB6}"/>
              </a:ext>
            </a:extLst>
          </p:cNvPr>
          <p:cNvSpPr txBox="1"/>
          <p:nvPr/>
        </p:nvSpPr>
        <p:spPr>
          <a:xfrm>
            <a:off x="1120265" y="6005031"/>
            <a:ext cx="10490545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+mj-lt"/>
              </a:rPr>
              <a:t>In South Africa, 18% of participants gained </a:t>
            </a:r>
            <a:r>
              <a:rPr lang="en-US" sz="1800" i="1" dirty="0">
                <a:latin typeface="+mj-lt"/>
              </a:rPr>
              <a:t>≥10% of their body weight </a:t>
            </a:r>
            <a:r>
              <a:rPr lang="en-US" sz="1800" dirty="0">
                <a:latin typeface="+mj-lt"/>
              </a:rPr>
              <a:t>compared to 9% in Ugand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ACC1D3-1702-661A-C2BC-3161A380829C}"/>
              </a:ext>
            </a:extLst>
          </p:cNvPr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 err="1"/>
              <a:t>Migisha</a:t>
            </a:r>
            <a:r>
              <a:rPr lang="en-US" sz="1000" dirty="0"/>
              <a:t> et al, AIDS</a:t>
            </a:r>
            <a:endParaRPr lang="en-US" sz="1000" i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37AA62C-A657-20B0-F843-49A9A4AA6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7575" y="1160961"/>
            <a:ext cx="7279351" cy="469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67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…qualitative interviews with 26 PLWH in KZN…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D13A8F-4E44-A557-ACC0-DF657FF5ADB3}"/>
              </a:ext>
            </a:extLst>
          </p:cNvPr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 err="1"/>
              <a:t>Manyaapelo</a:t>
            </a:r>
            <a:r>
              <a:rPr lang="en-US" sz="1000" dirty="0"/>
              <a:t> et al, Under Review</a:t>
            </a:r>
            <a:endParaRPr lang="en-US" sz="1000" i="1" dirty="0"/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CAFABCA4-064C-64B0-A67B-C71B633A0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738005"/>
              </p:ext>
            </p:extLst>
          </p:nvPr>
        </p:nvGraphicFramePr>
        <p:xfrm>
          <a:off x="438388" y="1373567"/>
          <a:ext cx="10954398" cy="5096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7199">
                  <a:extLst>
                    <a:ext uri="{9D8B030D-6E8A-4147-A177-3AD203B41FA5}">
                      <a16:colId xmlns:a16="http://schemas.microsoft.com/office/drawing/2014/main" val="518653536"/>
                    </a:ext>
                  </a:extLst>
                </a:gridCol>
                <a:gridCol w="5477199">
                  <a:extLst>
                    <a:ext uri="{9D8B030D-6E8A-4147-A177-3AD203B41FA5}">
                      <a16:colId xmlns:a16="http://schemas.microsoft.com/office/drawing/2014/main" val="1158543755"/>
                    </a:ext>
                  </a:extLst>
                </a:gridCol>
              </a:tblGrid>
              <a:tr h="4605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+mj-lt"/>
                        </a:rPr>
                        <a:t>The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+mj-lt"/>
                        </a:rPr>
                        <a:t>Quo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6860741"/>
                  </a:ext>
                </a:extLst>
              </a:tr>
              <a:tr h="9923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+mj-lt"/>
                        </a:rPr>
                        <a:t>Above-average body size is viewed as “normal” and preferable to being thin</a:t>
                      </a:r>
                    </a:p>
                    <a:p>
                      <a:endParaRPr lang="en-US" sz="1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22706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</a:t>
                      </a:r>
                      <a:r>
                        <a:rPr lang="en-US" sz="1800" b="1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 small body size means you are sick</a:t>
                      </a: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. If you are weighing a higher weight scale that means you are healthy.</a:t>
                      </a:r>
                      <a:r>
                        <a:rPr lang="en-US" sz="1800" b="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” </a:t>
                      </a:r>
                    </a:p>
                    <a:p>
                      <a:pPr marL="0" marR="0" lvl="0" indent="0" algn="l" defTabSz="22706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Female, 32)</a:t>
                      </a:r>
                    </a:p>
                    <a:p>
                      <a:endParaRPr lang="en-US" sz="18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7353435"/>
                  </a:ext>
                </a:extLst>
              </a:tr>
              <a:tr h="9923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Verdana"/>
                          <a:cs typeface="Segoe UI"/>
                        </a:rPr>
                        <a:t>TLD transition believed to contribute to weight gain</a:t>
                      </a:r>
                    </a:p>
                    <a:p>
                      <a:pPr marL="457200" marR="0" lvl="0" indent="-4572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Verdana"/>
                        <a:cs typeface="Segoe UI"/>
                      </a:endParaRPr>
                    </a:p>
                    <a:p>
                      <a:endParaRPr lang="en-US" sz="1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think</a:t>
                      </a:r>
                      <a:r>
                        <a:rPr lang="en-US" sz="1800" b="1" i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have </a:t>
                      </a:r>
                      <a:r>
                        <a:rPr lang="en-US" sz="1800" b="1" i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ained more weight due to the treatment</a:t>
                      </a:r>
                      <a:r>
                        <a:rPr lang="en-US" sz="1800" i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am using because I never had a heavy body.”</a:t>
                      </a:r>
                      <a:endParaRPr lang="en-US" sz="1800" b="0" i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Female 2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343695"/>
                  </a:ext>
                </a:extLst>
              </a:tr>
              <a:tr h="992323">
                <a:tc>
                  <a:txBody>
                    <a:bodyPr/>
                    <a:lstStyle/>
                    <a:p>
                      <a:pPr marL="0" marR="0" lvl="0" inden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itchFamily="2" charset="2"/>
                        <a:buNone/>
                      </a:pPr>
                      <a:r>
                        <a:rPr lang="en-US" sz="1800" kern="100" dirty="0">
                          <a:effectLst/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est in weight management exercise program but prefer to workout in groups </a:t>
                      </a:r>
                    </a:p>
                    <a:p>
                      <a:pPr marL="0" marR="0" lvl="0" inden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itchFamily="2" charset="2"/>
                        <a:buNone/>
                      </a:pPr>
                      <a:endParaRPr lang="en-US" sz="1800" kern="100" dirty="0">
                        <a:effectLst/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I can’t [workout] by myself; it would be </a:t>
                      </a:r>
                      <a:r>
                        <a:rPr lang="en-US" sz="1800" b="1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tter I [exercise] with a group…</a:t>
                      </a:r>
                      <a:r>
                        <a:rPr lang="en-US" sz="1800" b="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[exercising alone] </a:t>
                      </a: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would keep on postponing…and feeling lazy.”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Female, 34)</a:t>
                      </a:r>
                    </a:p>
                    <a:p>
                      <a:endParaRPr lang="en-US" sz="18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545943"/>
                  </a:ext>
                </a:extLst>
              </a:tr>
              <a:tr h="9923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est in pharmacologic option for weight loss</a:t>
                      </a:r>
                    </a:p>
                    <a:p>
                      <a:endParaRPr lang="en-US" sz="1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</a:t>
                      </a:r>
                      <a:r>
                        <a:rPr lang="en-US" sz="1800" b="1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am interested in losing weight</a:t>
                      </a:r>
                      <a:r>
                        <a:rPr lang="en-US" sz="1800" b="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…I can take it [weight loss pill] if it has fewer side effects.” 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1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Female 2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617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959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4160FC-1F5F-E629-D836-29CB522390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93EFC4D-1792-7478-11C9-A6BEF764EF1F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GLP-1 receptor agonist clas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53BB0F4-F1A1-6806-3787-107031A46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44" y="1586302"/>
            <a:ext cx="10520060" cy="491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7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8B9C0-20E2-2769-81C5-F5A26C547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P-1 receptor AGONIST CLASS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75099B-6C9F-4CCA-4688-426113E19525}"/>
              </a:ext>
            </a:extLst>
          </p:cNvPr>
          <p:cNvSpPr txBox="1"/>
          <p:nvPr/>
        </p:nvSpPr>
        <p:spPr>
          <a:xfrm>
            <a:off x="820928" y="2060681"/>
            <a:ext cx="2787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buAutoNum type="arabicPeriod"/>
            </a:pPr>
            <a:r>
              <a:rPr lang="en-US" b="1" dirty="0"/>
              <a:t>Liraglutide</a:t>
            </a:r>
          </a:p>
          <a:p>
            <a:pPr algn="ctr"/>
            <a:r>
              <a:rPr lang="en-US" dirty="0"/>
              <a:t>(GLP-1 agonist)</a:t>
            </a:r>
          </a:p>
          <a:p>
            <a:pPr algn="ctr"/>
            <a:r>
              <a:rPr lang="en-US" dirty="0"/>
              <a:t>Daily SC administr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BDC864-64ED-45DA-73C7-E18DD71E5B33}"/>
              </a:ext>
            </a:extLst>
          </p:cNvPr>
          <p:cNvSpPr txBox="1"/>
          <p:nvPr/>
        </p:nvSpPr>
        <p:spPr>
          <a:xfrm>
            <a:off x="3950208" y="1997672"/>
            <a:ext cx="39522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2. Semaglutide</a:t>
            </a:r>
          </a:p>
          <a:p>
            <a:pPr algn="ctr"/>
            <a:r>
              <a:rPr lang="en-US" dirty="0"/>
              <a:t>(GLP-1 agonist)</a:t>
            </a:r>
          </a:p>
          <a:p>
            <a:pPr algn="ctr"/>
            <a:r>
              <a:rPr lang="en-US" dirty="0"/>
              <a:t>Weekly SC or daily PO administration</a:t>
            </a:r>
          </a:p>
          <a:p>
            <a:pPr algn="ctr"/>
            <a:endParaRPr lang="en-US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90B118-6F48-AE07-51F7-62348DEC95A4}"/>
              </a:ext>
            </a:extLst>
          </p:cNvPr>
          <p:cNvSpPr txBox="1"/>
          <p:nvPr/>
        </p:nvSpPr>
        <p:spPr>
          <a:xfrm>
            <a:off x="8206652" y="1995136"/>
            <a:ext cx="28636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3. </a:t>
            </a:r>
            <a:r>
              <a:rPr lang="en-US" b="1" dirty="0" err="1"/>
              <a:t>Tirzepatide</a:t>
            </a:r>
            <a:endParaRPr lang="en-US" b="1" dirty="0"/>
          </a:p>
          <a:p>
            <a:pPr algn="ctr"/>
            <a:r>
              <a:rPr lang="en-US" dirty="0"/>
              <a:t>(GLP-1/GIP dual agonist)</a:t>
            </a:r>
          </a:p>
          <a:p>
            <a:pPr algn="ctr"/>
            <a:r>
              <a:rPr lang="en-US" dirty="0"/>
              <a:t>Weekly SC administration</a:t>
            </a:r>
          </a:p>
        </p:txBody>
      </p:sp>
      <p:pic>
        <p:nvPicPr>
          <p:cNvPr id="7" name="Picture 4" descr="Ozempic: Cost, dosage, side effects, uses, and mo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161" y="3284457"/>
            <a:ext cx="3226334" cy="2419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Liraglutide UK | What is Liraglutide | How Does Saxenda Wor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74" y="3475757"/>
            <a:ext cx="3238012" cy="1619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2" descr="F.D.A. Approves New Obesity Drug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100" name="Picture 4" descr="F.D.A. Approves New Obesity Drug Tirzepatide That Will Compete With Wegovy  - The New York Tim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444" y="3316702"/>
            <a:ext cx="3415917" cy="2277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84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D709D-8CFB-67FE-1530-06373FEC2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590B8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590B8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8AF0F2-18D3-54C4-EF6D-3B015DD83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en-ZA" u="sng" dirty="0"/>
              <a:t>Lir</a:t>
            </a:r>
            <a:r>
              <a:rPr lang="en-ZA" dirty="0"/>
              <a:t>aglutide for </a:t>
            </a:r>
            <a:r>
              <a:rPr lang="en-US" u="sng" dirty="0"/>
              <a:t>O</a:t>
            </a:r>
            <a:r>
              <a:rPr lang="en-US" dirty="0"/>
              <a:t>besity in </a:t>
            </a:r>
            <a:r>
              <a:rPr lang="en-US" u="sng" dirty="0"/>
              <a:t>H</a:t>
            </a:r>
            <a:r>
              <a:rPr lang="en-US" dirty="0"/>
              <a:t>IV (LIROH), NCT06438146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E3E50DE-2D59-D035-DA01-2DA20E922CE1}"/>
              </a:ext>
            </a:extLst>
          </p:cNvPr>
          <p:cNvGrpSpPr/>
          <p:nvPr/>
        </p:nvGrpSpPr>
        <p:grpSpPr>
          <a:xfrm>
            <a:off x="459272" y="2347233"/>
            <a:ext cx="3446858" cy="3354389"/>
            <a:chOff x="581025" y="2343149"/>
            <a:chExt cx="3446858" cy="335438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CF4C19-20EE-84DE-06E4-F79B1BFC2EB6}"/>
                </a:ext>
              </a:extLst>
            </p:cNvPr>
            <p:cNvSpPr/>
            <p:nvPr/>
          </p:nvSpPr>
          <p:spPr>
            <a:xfrm>
              <a:off x="581025" y="2343149"/>
              <a:ext cx="3102173" cy="30269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76E3026-02DF-F39D-D80D-148408F59CAF}"/>
                </a:ext>
              </a:extLst>
            </p:cNvPr>
            <p:cNvSpPr/>
            <p:nvPr/>
          </p:nvSpPr>
          <p:spPr>
            <a:xfrm>
              <a:off x="925710" y="2670601"/>
              <a:ext cx="3102173" cy="3026937"/>
            </a:xfrm>
            <a:custGeom>
              <a:avLst/>
              <a:gdLst>
                <a:gd name="connsiteX0" fmla="*/ 0 w 3102173"/>
                <a:gd name="connsiteY0" fmla="*/ 302694 h 3026937"/>
                <a:gd name="connsiteX1" fmla="*/ 302694 w 3102173"/>
                <a:gd name="connsiteY1" fmla="*/ 0 h 3026937"/>
                <a:gd name="connsiteX2" fmla="*/ 2799479 w 3102173"/>
                <a:gd name="connsiteY2" fmla="*/ 0 h 3026937"/>
                <a:gd name="connsiteX3" fmla="*/ 3102173 w 3102173"/>
                <a:gd name="connsiteY3" fmla="*/ 302694 h 3026937"/>
                <a:gd name="connsiteX4" fmla="*/ 3102173 w 3102173"/>
                <a:gd name="connsiteY4" fmla="*/ 2724243 h 3026937"/>
                <a:gd name="connsiteX5" fmla="*/ 2799479 w 3102173"/>
                <a:gd name="connsiteY5" fmla="*/ 3026937 h 3026937"/>
                <a:gd name="connsiteX6" fmla="*/ 302694 w 3102173"/>
                <a:gd name="connsiteY6" fmla="*/ 3026937 h 3026937"/>
                <a:gd name="connsiteX7" fmla="*/ 0 w 3102173"/>
                <a:gd name="connsiteY7" fmla="*/ 2724243 h 3026937"/>
                <a:gd name="connsiteX8" fmla="*/ 0 w 3102173"/>
                <a:gd name="connsiteY8" fmla="*/ 302694 h 302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2173" h="3026937">
                  <a:moveTo>
                    <a:pt x="0" y="302694"/>
                  </a:moveTo>
                  <a:cubicBezTo>
                    <a:pt x="0" y="135521"/>
                    <a:pt x="135521" y="0"/>
                    <a:pt x="302694" y="0"/>
                  </a:cubicBezTo>
                  <a:lnTo>
                    <a:pt x="2799479" y="0"/>
                  </a:lnTo>
                  <a:cubicBezTo>
                    <a:pt x="2966652" y="0"/>
                    <a:pt x="3102173" y="135521"/>
                    <a:pt x="3102173" y="302694"/>
                  </a:cubicBezTo>
                  <a:lnTo>
                    <a:pt x="3102173" y="2724243"/>
                  </a:lnTo>
                  <a:cubicBezTo>
                    <a:pt x="3102173" y="2891416"/>
                    <a:pt x="2966652" y="3026937"/>
                    <a:pt x="2799479" y="3026937"/>
                  </a:cubicBezTo>
                  <a:lnTo>
                    <a:pt x="302694" y="3026937"/>
                  </a:lnTo>
                  <a:cubicBezTo>
                    <a:pt x="135521" y="3026937"/>
                    <a:pt x="0" y="2891416"/>
                    <a:pt x="0" y="2724243"/>
                  </a:cubicBezTo>
                  <a:lnTo>
                    <a:pt x="0" y="302694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0096" tIns="180096" rIns="180096" bIns="180096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Obesity and diabetes are important comorbidities for PLWH in Southern Africa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665EC40-6BA0-FC49-76B5-E83237B387B7}"/>
              </a:ext>
            </a:extLst>
          </p:cNvPr>
          <p:cNvGrpSpPr/>
          <p:nvPr/>
        </p:nvGrpSpPr>
        <p:grpSpPr>
          <a:xfrm>
            <a:off x="4359337" y="2419349"/>
            <a:ext cx="3446860" cy="3354389"/>
            <a:chOff x="4372570" y="2343149"/>
            <a:chExt cx="3446860" cy="3354389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4D0A344-5990-355A-8BFE-B31D5DB28CA4}"/>
                </a:ext>
              </a:extLst>
            </p:cNvPr>
            <p:cNvSpPr/>
            <p:nvPr/>
          </p:nvSpPr>
          <p:spPr>
            <a:xfrm>
              <a:off x="4372570" y="2343149"/>
              <a:ext cx="3102173" cy="3026937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EB54A92-80D6-0434-4CF3-4BA9811C3A5C}"/>
                </a:ext>
              </a:extLst>
            </p:cNvPr>
            <p:cNvSpPr/>
            <p:nvPr/>
          </p:nvSpPr>
          <p:spPr>
            <a:xfrm>
              <a:off x="4717256" y="2670601"/>
              <a:ext cx="3102174" cy="3026937"/>
            </a:xfrm>
            <a:custGeom>
              <a:avLst/>
              <a:gdLst>
                <a:gd name="connsiteX0" fmla="*/ 0 w 3102173"/>
                <a:gd name="connsiteY0" fmla="*/ 302694 h 3026937"/>
                <a:gd name="connsiteX1" fmla="*/ 302694 w 3102173"/>
                <a:gd name="connsiteY1" fmla="*/ 0 h 3026937"/>
                <a:gd name="connsiteX2" fmla="*/ 2799479 w 3102173"/>
                <a:gd name="connsiteY2" fmla="*/ 0 h 3026937"/>
                <a:gd name="connsiteX3" fmla="*/ 3102173 w 3102173"/>
                <a:gd name="connsiteY3" fmla="*/ 302694 h 3026937"/>
                <a:gd name="connsiteX4" fmla="*/ 3102173 w 3102173"/>
                <a:gd name="connsiteY4" fmla="*/ 2724243 h 3026937"/>
                <a:gd name="connsiteX5" fmla="*/ 2799479 w 3102173"/>
                <a:gd name="connsiteY5" fmla="*/ 3026937 h 3026937"/>
                <a:gd name="connsiteX6" fmla="*/ 302694 w 3102173"/>
                <a:gd name="connsiteY6" fmla="*/ 3026937 h 3026937"/>
                <a:gd name="connsiteX7" fmla="*/ 0 w 3102173"/>
                <a:gd name="connsiteY7" fmla="*/ 2724243 h 3026937"/>
                <a:gd name="connsiteX8" fmla="*/ 0 w 3102173"/>
                <a:gd name="connsiteY8" fmla="*/ 302694 h 302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2173" h="3026937">
                  <a:moveTo>
                    <a:pt x="0" y="302694"/>
                  </a:moveTo>
                  <a:cubicBezTo>
                    <a:pt x="0" y="135521"/>
                    <a:pt x="135521" y="0"/>
                    <a:pt x="302694" y="0"/>
                  </a:cubicBezTo>
                  <a:lnTo>
                    <a:pt x="2799479" y="0"/>
                  </a:lnTo>
                  <a:cubicBezTo>
                    <a:pt x="2966652" y="0"/>
                    <a:pt x="3102173" y="135521"/>
                    <a:pt x="3102173" y="302694"/>
                  </a:cubicBezTo>
                  <a:lnTo>
                    <a:pt x="3102173" y="2724243"/>
                  </a:lnTo>
                  <a:cubicBezTo>
                    <a:pt x="3102173" y="2891416"/>
                    <a:pt x="2966652" y="3026937"/>
                    <a:pt x="2799479" y="3026937"/>
                  </a:cubicBezTo>
                  <a:lnTo>
                    <a:pt x="302694" y="3026937"/>
                  </a:lnTo>
                  <a:cubicBezTo>
                    <a:pt x="135521" y="3026937"/>
                    <a:pt x="0" y="2891416"/>
                    <a:pt x="0" y="2724243"/>
                  </a:cubicBezTo>
                  <a:lnTo>
                    <a:pt x="0" y="302694"/>
                  </a:lnTo>
                  <a:close/>
                </a:path>
              </a:pathLst>
            </a:custGeom>
            <a:ln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4856" tIns="164856" rIns="164856" bIns="164856" numCol="1" spcCol="1270" anchor="ctr" anchorCtr="0">
              <a:no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GLP-1 RAs promising for obesity in people without HIV but little data on their use in PLWH</a:t>
              </a:r>
              <a:r>
                <a:rPr lang="en-ZA" sz="2400" dirty="0">
                  <a:solidFill>
                    <a:prstClr val="black"/>
                  </a:solidFill>
                  <a:latin typeface="Gill Sans MT" panose="020B0502020104020203"/>
                </a:rPr>
                <a:t> </a:t>
              </a:r>
              <a:r>
                <a:rPr kumimoji="0" lang="en-ZA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in Southern Africa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4E2FA3E-6939-EE34-9994-AE462FD8A770}"/>
              </a:ext>
            </a:extLst>
          </p:cNvPr>
          <p:cNvGrpSpPr/>
          <p:nvPr/>
        </p:nvGrpSpPr>
        <p:grpSpPr>
          <a:xfrm>
            <a:off x="8259404" y="2419349"/>
            <a:ext cx="3446859" cy="3354389"/>
            <a:chOff x="8164115" y="2343149"/>
            <a:chExt cx="3446859" cy="3354389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426FB4AB-3071-0DA3-766C-8A6CE6A66D12}"/>
                </a:ext>
              </a:extLst>
            </p:cNvPr>
            <p:cNvSpPr/>
            <p:nvPr/>
          </p:nvSpPr>
          <p:spPr>
            <a:xfrm>
              <a:off x="8164115" y="2343149"/>
              <a:ext cx="3102173" cy="3026937"/>
            </a:xfrm>
            <a:prstGeom prst="roundRect">
              <a:avLst>
                <a:gd name="adj" fmla="val 10000"/>
              </a:avLst>
            </a:prstGeom>
            <a:solidFill>
              <a:schemeClr val="accent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75C27A4-706D-9016-DB5E-7A4D1ACF6666}"/>
                </a:ext>
              </a:extLst>
            </p:cNvPr>
            <p:cNvSpPr/>
            <p:nvPr/>
          </p:nvSpPr>
          <p:spPr>
            <a:xfrm>
              <a:off x="8508801" y="2670601"/>
              <a:ext cx="3102173" cy="3026937"/>
            </a:xfrm>
            <a:custGeom>
              <a:avLst/>
              <a:gdLst>
                <a:gd name="connsiteX0" fmla="*/ 0 w 3102173"/>
                <a:gd name="connsiteY0" fmla="*/ 302694 h 3026937"/>
                <a:gd name="connsiteX1" fmla="*/ 302694 w 3102173"/>
                <a:gd name="connsiteY1" fmla="*/ 0 h 3026937"/>
                <a:gd name="connsiteX2" fmla="*/ 2799479 w 3102173"/>
                <a:gd name="connsiteY2" fmla="*/ 0 h 3026937"/>
                <a:gd name="connsiteX3" fmla="*/ 3102173 w 3102173"/>
                <a:gd name="connsiteY3" fmla="*/ 302694 h 3026937"/>
                <a:gd name="connsiteX4" fmla="*/ 3102173 w 3102173"/>
                <a:gd name="connsiteY4" fmla="*/ 2724243 h 3026937"/>
                <a:gd name="connsiteX5" fmla="*/ 2799479 w 3102173"/>
                <a:gd name="connsiteY5" fmla="*/ 3026937 h 3026937"/>
                <a:gd name="connsiteX6" fmla="*/ 302694 w 3102173"/>
                <a:gd name="connsiteY6" fmla="*/ 3026937 h 3026937"/>
                <a:gd name="connsiteX7" fmla="*/ 0 w 3102173"/>
                <a:gd name="connsiteY7" fmla="*/ 2724243 h 3026937"/>
                <a:gd name="connsiteX8" fmla="*/ 0 w 3102173"/>
                <a:gd name="connsiteY8" fmla="*/ 302694 h 302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2173" h="3026937">
                  <a:moveTo>
                    <a:pt x="0" y="302694"/>
                  </a:moveTo>
                  <a:cubicBezTo>
                    <a:pt x="0" y="135521"/>
                    <a:pt x="135521" y="0"/>
                    <a:pt x="302694" y="0"/>
                  </a:cubicBezTo>
                  <a:lnTo>
                    <a:pt x="2799479" y="0"/>
                  </a:lnTo>
                  <a:cubicBezTo>
                    <a:pt x="2966652" y="0"/>
                    <a:pt x="3102173" y="135521"/>
                    <a:pt x="3102173" y="302694"/>
                  </a:cubicBezTo>
                  <a:lnTo>
                    <a:pt x="3102173" y="2724243"/>
                  </a:lnTo>
                  <a:cubicBezTo>
                    <a:pt x="3102173" y="2891416"/>
                    <a:pt x="2966652" y="3026937"/>
                    <a:pt x="2799479" y="3026937"/>
                  </a:cubicBezTo>
                  <a:lnTo>
                    <a:pt x="302694" y="3026937"/>
                  </a:lnTo>
                  <a:cubicBezTo>
                    <a:pt x="135521" y="3026937"/>
                    <a:pt x="0" y="2891416"/>
                    <a:pt x="0" y="2724243"/>
                  </a:cubicBezTo>
                  <a:lnTo>
                    <a:pt x="0" y="302694"/>
                  </a:lnTo>
                  <a:close/>
                </a:path>
              </a:pathLst>
            </a:custGeom>
            <a:ln>
              <a:solidFill>
                <a:schemeClr val="accent3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4856" tIns="164856" rIns="164856" bIns="164856" numCol="1" spcCol="1270" anchor="ctr" anchorCtr="0">
              <a:no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The purpose of this study was to assess the acceptability </a:t>
              </a:r>
              <a:r>
                <a:rPr lang="en-ZA" sz="2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Gill Sans MT" panose="020B0502020104020203"/>
                </a:rPr>
                <a:t>&amp;</a:t>
              </a:r>
              <a:r>
                <a:rPr kumimoji="0" lang="en-ZA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 preliminary efficacy of liraglutide for obesity in PLWH stable on AR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623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0791F-8BB8-7FC6-326B-BBD70295A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590B8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590B8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791B4F-6B41-42DE-34A2-D0A86497A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ROH Study desig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531C72-E047-5A17-BE3C-F854D767FC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56" y="2352305"/>
            <a:ext cx="11873144" cy="1895075"/>
          </a:xfrm>
          <a:prstGeom prst="rect">
            <a:avLst/>
          </a:prstGeom>
          <a:noFill/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6AA99935-A6B1-4F30-A6D6-4411AAEC0D3B}"/>
              </a:ext>
            </a:extLst>
          </p:cNvPr>
          <p:cNvGrpSpPr/>
          <p:nvPr/>
        </p:nvGrpSpPr>
        <p:grpSpPr>
          <a:xfrm>
            <a:off x="1004656" y="4734100"/>
            <a:ext cx="1828800" cy="914400"/>
            <a:chOff x="407175" y="4770961"/>
            <a:chExt cx="1828800" cy="914400"/>
          </a:xfrm>
        </p:grpSpPr>
        <p:pic>
          <p:nvPicPr>
            <p:cNvPr id="10" name="Graphic 9" descr="Scale with solid fill">
              <a:extLst>
                <a:ext uri="{FF2B5EF4-FFF2-40B4-BE49-F238E27FC236}">
                  <a16:creationId xmlns:a16="http://schemas.microsoft.com/office/drawing/2014/main" id="{96F5A18D-CCA5-D28C-E11D-65F895B87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21575" y="4770961"/>
              <a:ext cx="914400" cy="914400"/>
            </a:xfrm>
            <a:prstGeom prst="rect">
              <a:avLst/>
            </a:prstGeom>
          </p:spPr>
        </p:pic>
        <p:pic>
          <p:nvPicPr>
            <p:cNvPr id="14" name="Graphic 13" descr="Medicine with solid fill">
              <a:extLst>
                <a:ext uri="{FF2B5EF4-FFF2-40B4-BE49-F238E27FC236}">
                  <a16:creationId xmlns:a16="http://schemas.microsoft.com/office/drawing/2014/main" id="{84F0142D-AAAB-3442-35AB-105942B0B7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7175" y="4770961"/>
              <a:ext cx="914400" cy="914400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89094EE-29F5-58C9-9960-3860EEE8B5F0}"/>
              </a:ext>
            </a:extLst>
          </p:cNvPr>
          <p:cNvSpPr txBox="1"/>
          <p:nvPr/>
        </p:nvSpPr>
        <p:spPr>
          <a:xfrm>
            <a:off x="318856" y="5648500"/>
            <a:ext cx="32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PWH on TLD &amp; BMI ≥30 kg/m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BB97A4C-4F99-2522-4E14-1D0C959AC49E}"/>
              </a:ext>
            </a:extLst>
          </p:cNvPr>
          <p:cNvSpPr txBox="1"/>
          <p:nvPr/>
        </p:nvSpPr>
        <p:spPr>
          <a:xfrm>
            <a:off x="4334893" y="5787138"/>
            <a:ext cx="42375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/>
                <a:ea typeface="Times New Roman" panose="02020603050405020304" pitchFamily="18" charset="0"/>
                <a:cs typeface="+mn-cs"/>
              </a:rPr>
              <a:t>Single-arm, open-label design with approved GLP-1 RA (liraglutide SC daily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17" name="Picture 2" descr="Africa Health Research Institute">
            <a:extLst>
              <a:ext uri="{FF2B5EF4-FFF2-40B4-BE49-F238E27FC236}">
                <a16:creationId xmlns:a16="http://schemas.microsoft.com/office/drawing/2014/main" id="{11719A1E-5F70-9115-9ED5-3F089F8EF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0836" y="5563856"/>
            <a:ext cx="1210865" cy="112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A blue pen next to a box&#10;&#10;Description automatically generated">
            <a:extLst>
              <a:ext uri="{FF2B5EF4-FFF2-40B4-BE49-F238E27FC236}">
                <a16:creationId xmlns:a16="http://schemas.microsoft.com/office/drawing/2014/main" id="{5B833350-7639-E110-2CBD-7B6F3B0438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0933" y="4405527"/>
            <a:ext cx="1965444" cy="147408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CA8EE0-6A18-DB0B-B3F6-AA83BDCBA8B2}"/>
              </a:ext>
            </a:extLst>
          </p:cNvPr>
          <p:cNvSpPr/>
          <p:nvPr/>
        </p:nvSpPr>
        <p:spPr>
          <a:xfrm>
            <a:off x="3026993" y="3328395"/>
            <a:ext cx="1180214" cy="19670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12 week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895460-2DAD-4CA5-EBDF-8F4931CA6C97}"/>
              </a:ext>
            </a:extLst>
          </p:cNvPr>
          <p:cNvSpPr/>
          <p:nvPr/>
        </p:nvSpPr>
        <p:spPr>
          <a:xfrm>
            <a:off x="8367410" y="3309563"/>
            <a:ext cx="1180214" cy="19670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12 weeks</a:t>
            </a:r>
          </a:p>
        </p:txBody>
      </p:sp>
      <p:pic>
        <p:nvPicPr>
          <p:cNvPr id="8" name="Picture 4" descr="AHRI | About Us | Working towards the elimination of HIV and TB disease">
            <a:extLst>
              <a:ext uri="{FF2B5EF4-FFF2-40B4-BE49-F238E27FC236}">
                <a16:creationId xmlns:a16="http://schemas.microsoft.com/office/drawing/2014/main" id="{01AF4C84-E92E-CD41-85AC-50B057D8C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318" y="4500865"/>
            <a:ext cx="1720026" cy="132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43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Dose escalation and treatment schedule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39A026-940B-26CC-56B7-2FAD89648852}"/>
              </a:ext>
            </a:extLst>
          </p:cNvPr>
          <p:cNvSpPr txBox="1"/>
          <p:nvPr/>
        </p:nvSpPr>
        <p:spPr>
          <a:xfrm>
            <a:off x="4215665" y="1586302"/>
            <a:ext cx="55795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800" b="1" dirty="0">
                <a:solidFill>
                  <a:schemeClr val="accent1"/>
                </a:solidFill>
                <a:latin typeface="Bahnschrift" panose="020B0502040204020203" pitchFamily="34" charset="0"/>
              </a:rPr>
              <a:t>Liraglutide Treatment </a:t>
            </a: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F5B25638-B3D3-CE19-1138-56EAA1E9AD19}"/>
              </a:ext>
            </a:extLst>
          </p:cNvPr>
          <p:cNvSpPr/>
          <p:nvPr/>
        </p:nvSpPr>
        <p:spPr>
          <a:xfrm rot="10800000">
            <a:off x="1157112" y="3284523"/>
            <a:ext cx="1734174" cy="436321"/>
          </a:xfrm>
          <a:prstGeom prst="round2SameRect">
            <a:avLst/>
          </a:prstGeom>
          <a:solidFill>
            <a:srgbClr val="A900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B75129D8-97AC-1D7F-8DFD-E8F43D931CA6}"/>
              </a:ext>
            </a:extLst>
          </p:cNvPr>
          <p:cNvSpPr/>
          <p:nvPr/>
        </p:nvSpPr>
        <p:spPr>
          <a:xfrm rot="10800000">
            <a:off x="3028164" y="3109994"/>
            <a:ext cx="1734174" cy="610849"/>
          </a:xfrm>
          <a:prstGeom prst="round2SameRect">
            <a:avLst>
              <a:gd name="adj1" fmla="val 11172"/>
              <a:gd name="adj2" fmla="val 0"/>
            </a:avLst>
          </a:prstGeom>
          <a:solidFill>
            <a:srgbClr val="81135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121E2392-93DF-2F17-DE16-B22297552D3B}"/>
              </a:ext>
            </a:extLst>
          </p:cNvPr>
          <p:cNvSpPr/>
          <p:nvPr/>
        </p:nvSpPr>
        <p:spPr>
          <a:xfrm rot="10800000">
            <a:off x="4914184" y="2928753"/>
            <a:ext cx="1734174" cy="792089"/>
          </a:xfrm>
          <a:prstGeom prst="round2SameRect">
            <a:avLst>
              <a:gd name="adj1" fmla="val 9762"/>
              <a:gd name="adj2" fmla="val 0"/>
            </a:avLst>
          </a:prstGeom>
          <a:solidFill>
            <a:srgbClr val="671F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61C0EA68-210D-E131-2E2D-415B4E025E19}"/>
              </a:ext>
            </a:extLst>
          </p:cNvPr>
          <p:cNvSpPr/>
          <p:nvPr/>
        </p:nvSpPr>
        <p:spPr>
          <a:xfrm rot="10800000">
            <a:off x="6785237" y="2727375"/>
            <a:ext cx="1734174" cy="993468"/>
          </a:xfrm>
          <a:prstGeom prst="round2SameRect">
            <a:avLst>
              <a:gd name="adj1" fmla="val 8036"/>
              <a:gd name="adj2" fmla="val 0"/>
            </a:avLst>
          </a:prstGeom>
          <a:solidFill>
            <a:srgbClr val="5900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B713D7A8-788E-2B34-1C8E-E88C481B4990}"/>
              </a:ext>
            </a:extLst>
          </p:cNvPr>
          <p:cNvSpPr/>
          <p:nvPr/>
        </p:nvSpPr>
        <p:spPr>
          <a:xfrm rot="10800000">
            <a:off x="8686226" y="2539421"/>
            <a:ext cx="1734174" cy="1181421"/>
          </a:xfrm>
          <a:prstGeom prst="round2SameRect">
            <a:avLst>
              <a:gd name="adj1" fmla="val 7172"/>
              <a:gd name="adj2" fmla="val 0"/>
            </a:avLst>
          </a:prstGeom>
          <a:solidFill>
            <a:srgbClr val="362268"/>
          </a:solidFill>
          <a:ln>
            <a:solidFill>
              <a:srgbClr val="41258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3209BE-95E1-CF8D-FB84-F064865F9C28}"/>
              </a:ext>
            </a:extLst>
          </p:cNvPr>
          <p:cNvSpPr txBox="1"/>
          <p:nvPr/>
        </p:nvSpPr>
        <p:spPr>
          <a:xfrm>
            <a:off x="1157111" y="2969018"/>
            <a:ext cx="1702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rPr>
              <a:t>WEEK 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60652D-3B92-98EA-AB55-2E6D233EF4AE}"/>
              </a:ext>
            </a:extLst>
          </p:cNvPr>
          <p:cNvSpPr txBox="1"/>
          <p:nvPr/>
        </p:nvSpPr>
        <p:spPr>
          <a:xfrm>
            <a:off x="3052586" y="2770950"/>
            <a:ext cx="1702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rPr>
              <a:t>WEEK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BCA0D5-2687-C118-486E-08281B2CF02E}"/>
              </a:ext>
            </a:extLst>
          </p:cNvPr>
          <p:cNvSpPr txBox="1"/>
          <p:nvPr/>
        </p:nvSpPr>
        <p:spPr>
          <a:xfrm>
            <a:off x="4938536" y="2563945"/>
            <a:ext cx="1702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rPr>
              <a:t>WEEK 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768C79-145F-F1F1-F669-8E79399DDEB3}"/>
              </a:ext>
            </a:extLst>
          </p:cNvPr>
          <p:cNvSpPr txBox="1"/>
          <p:nvPr/>
        </p:nvSpPr>
        <p:spPr>
          <a:xfrm>
            <a:off x="6795911" y="2387573"/>
            <a:ext cx="1702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rPr>
              <a:t>WEEK 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74EEE7-3E67-28EF-968B-DD0681FD45A8}"/>
              </a:ext>
            </a:extLst>
          </p:cNvPr>
          <p:cNvSpPr txBox="1"/>
          <p:nvPr/>
        </p:nvSpPr>
        <p:spPr>
          <a:xfrm>
            <a:off x="8700911" y="2185023"/>
            <a:ext cx="1702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rPr>
              <a:t>WEEKS 5-1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AFDE77-35EB-C011-9053-804653ED1F5B}"/>
              </a:ext>
            </a:extLst>
          </p:cNvPr>
          <p:cNvSpPr txBox="1"/>
          <p:nvPr/>
        </p:nvSpPr>
        <p:spPr>
          <a:xfrm>
            <a:off x="1157111" y="3280391"/>
            <a:ext cx="1702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Bahnschrift" panose="020B0502040204020203" pitchFamily="34" charset="0"/>
              </a:rPr>
              <a:t>0,6 mg</a:t>
            </a:r>
            <a:endParaRPr lang="en-ZA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87E5F1-E83B-7E7E-0B5E-5E655C52F031}"/>
              </a:ext>
            </a:extLst>
          </p:cNvPr>
          <p:cNvSpPr txBox="1"/>
          <p:nvPr/>
        </p:nvSpPr>
        <p:spPr>
          <a:xfrm>
            <a:off x="3043061" y="3187094"/>
            <a:ext cx="1702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Bahnschrift" panose="020B0502040204020203" pitchFamily="34" charset="0"/>
              </a:rPr>
              <a:t>1,2 mg</a:t>
            </a:r>
            <a:endParaRPr lang="en-ZA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AF4EE2-D2A2-F78F-57B5-8369D314EF59}"/>
              </a:ext>
            </a:extLst>
          </p:cNvPr>
          <p:cNvSpPr txBox="1"/>
          <p:nvPr/>
        </p:nvSpPr>
        <p:spPr>
          <a:xfrm>
            <a:off x="4929011" y="3080336"/>
            <a:ext cx="1702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Bahnschrift" panose="020B0502040204020203" pitchFamily="34" charset="0"/>
              </a:rPr>
              <a:t>1,8 mg</a:t>
            </a:r>
            <a:endParaRPr lang="en-ZA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24FD242-2A67-719E-D37D-3599BB8B8028}"/>
              </a:ext>
            </a:extLst>
          </p:cNvPr>
          <p:cNvSpPr txBox="1"/>
          <p:nvPr/>
        </p:nvSpPr>
        <p:spPr>
          <a:xfrm>
            <a:off x="6795911" y="2992101"/>
            <a:ext cx="1702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Bahnschrift" panose="020B0502040204020203" pitchFamily="34" charset="0"/>
              </a:rPr>
              <a:t>2,4 mg</a:t>
            </a:r>
            <a:endParaRPr lang="en-ZA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83A8E41-86FC-4E90-EDCE-AAF40CABE08F}"/>
              </a:ext>
            </a:extLst>
          </p:cNvPr>
          <p:cNvSpPr txBox="1"/>
          <p:nvPr/>
        </p:nvSpPr>
        <p:spPr>
          <a:xfrm>
            <a:off x="8700911" y="2672969"/>
            <a:ext cx="1702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Bahnschrift" panose="020B0502040204020203" pitchFamily="34" charset="0"/>
              </a:rPr>
              <a:t>3,0 mg</a:t>
            </a:r>
            <a:endParaRPr lang="en-ZA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089FF4D-CC3D-22FD-3645-84DA2F226EBE}"/>
              </a:ext>
            </a:extLst>
          </p:cNvPr>
          <p:cNvSpPr txBox="1"/>
          <p:nvPr/>
        </p:nvSpPr>
        <p:spPr>
          <a:xfrm>
            <a:off x="8676701" y="3023586"/>
            <a:ext cx="17267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  <a:latin typeface="Bahnschrift" panose="020B0502040204020203" pitchFamily="34" charset="0"/>
              </a:rPr>
              <a:t>Therapeutic / Maintenance Dose</a:t>
            </a:r>
          </a:p>
        </p:txBody>
      </p:sp>
      <p:pic>
        <p:nvPicPr>
          <p:cNvPr id="34" name="Picture 33" descr="A pen and measuring tape on a cutting board&#10;&#10;AI-generated content may be incorrect.">
            <a:extLst>
              <a:ext uri="{FF2B5EF4-FFF2-40B4-BE49-F238E27FC236}">
                <a16:creationId xmlns:a16="http://schemas.microsoft.com/office/drawing/2014/main" id="{99D0EDA3-00A5-825D-FBBE-8CE677E9C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665" y="4392683"/>
            <a:ext cx="3160815" cy="210721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8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112CC0-7E6C-F3A0-CCC8-63D649578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A387308-124A-232A-010B-E06850D0C727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Enrollment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57A7B8-A562-E6B7-318B-92551D915D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8549" y="616098"/>
            <a:ext cx="8235653" cy="584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34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BF0244D-4540-2032-73ED-4E1A79E5F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896269"/>
              </p:ext>
            </p:extLst>
          </p:nvPr>
        </p:nvGraphicFramePr>
        <p:xfrm>
          <a:off x="1895474" y="1598930"/>
          <a:ext cx="8401051" cy="4643928"/>
        </p:xfrm>
        <a:graphic>
          <a:graphicData uri="http://schemas.openxmlformats.org/drawingml/2006/table">
            <a:tbl>
              <a:tblPr firstRow="1" firstCol="1" bandRow="1"/>
              <a:tblGrid>
                <a:gridCol w="4768164">
                  <a:extLst>
                    <a:ext uri="{9D8B030D-6E8A-4147-A177-3AD203B41FA5}">
                      <a16:colId xmlns:a16="http://schemas.microsoft.com/office/drawing/2014/main" val="2567082159"/>
                    </a:ext>
                  </a:extLst>
                </a:gridCol>
                <a:gridCol w="3632887">
                  <a:extLst>
                    <a:ext uri="{9D8B030D-6E8A-4147-A177-3AD203B41FA5}">
                      <a16:colId xmlns:a16="http://schemas.microsoft.com/office/drawing/2014/main" val="4159584910"/>
                    </a:ext>
                  </a:extLst>
                </a:gridCol>
              </a:tblGrid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otal (n=40)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6556870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Age, </a:t>
                      </a:r>
                      <a:r>
                        <a:rPr lang="en-US" sz="2000" i="1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years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8 (5)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821721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Female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9 (98%)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072708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Bodyweight, </a:t>
                      </a:r>
                      <a:r>
                        <a:rPr lang="en-US" sz="2000" i="1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kg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3 [89, 109]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57101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BMI, </a:t>
                      </a:r>
                      <a:r>
                        <a:rPr lang="en-US" sz="2000" i="1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kg/m</a:t>
                      </a:r>
                      <a:r>
                        <a:rPr lang="en-US" sz="2000" i="1" kern="0" baseline="3000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8 [35, 43]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817288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Systolic blood pressure,</a:t>
                      </a:r>
                      <a:r>
                        <a:rPr lang="en-US" sz="2000" i="1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mmHg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23 [114, 135]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32548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Diastolic blood pressure, </a:t>
                      </a:r>
                      <a:r>
                        <a:rPr lang="en-US" sz="2000" i="1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mHg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84 [76, 87]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1984691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DL, </a:t>
                      </a:r>
                      <a:r>
                        <a:rPr lang="en-US" sz="2000" i="1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mol/L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.7 (0.8)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2008350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DL, </a:t>
                      </a:r>
                      <a:r>
                        <a:rPr lang="en-US" sz="2000" i="1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mol/L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.2 (0.3)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9827733"/>
                  </a:ext>
                </a:extLst>
              </a:tr>
              <a:tr h="3081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bA1c, </a:t>
                      </a:r>
                      <a:r>
                        <a:rPr lang="en-US" sz="2000" i="1" kern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lang="en-US" sz="2000" kern="10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2000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5.7 (0.5)</a:t>
                      </a:r>
                      <a:endParaRPr lang="en-US" sz="2000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846184"/>
                  </a:ext>
                </a:extLst>
              </a:tr>
              <a:tr h="1339388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1" i="1" kern="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able Legend: </a:t>
                      </a:r>
                      <a:endParaRPr lang="en-US" sz="1600" i="1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i="1" kern="0" dirty="0">
                          <a:solidFill>
                            <a:srgbClr val="1F1F1F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Data are mean (standard deviation), median [interquartile range], or n (%) where appropriate. LDL=low-density lipoprotein, HDL= high-density lipoprotein, HbA1c=hemoglobin A1c.</a:t>
                      </a:r>
                      <a:endParaRPr lang="en-US" sz="1600" i="1" kern="100" dirty="0">
                        <a:effectLst/>
                        <a:latin typeface="Aptos" panose="020B0004020202020204" pitchFamily="34" charset="0"/>
                        <a:ea typeface="DengXia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844223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CC9454A-2478-F027-DD33-0FA0FDF41F4A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Baseline cohort characteristic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378228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363983" y="585181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Disclosures</a:t>
            </a:r>
            <a:endParaRPr lang="en-US" sz="2900" dirty="0">
              <a:solidFill>
                <a:srgbClr val="4590B8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1304E2-18A4-CFCA-842E-6D29058B815B}"/>
              </a:ext>
            </a:extLst>
          </p:cNvPr>
          <p:cNvSpPr txBox="1"/>
          <p:nvPr/>
        </p:nvSpPr>
        <p:spPr>
          <a:xfrm>
            <a:off x="1223962" y="1795310"/>
            <a:ext cx="9744075" cy="2341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 </a:t>
            </a:r>
            <a:r>
              <a:rPr lang="en-US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m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 site Principal Investigator for trials funded by </a:t>
            </a:r>
            <a:r>
              <a:rPr lang="en-US" sz="2400" dirty="0" err="1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iv</a:t>
            </a:r>
            <a:r>
              <a:rPr lang="en-US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&amp; 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ilead and a Technical Consultant to the WHO Department of NCDs &amp; Department of Nutrition and Food Safety.</a:t>
            </a:r>
          </a:p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4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4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5D462-2A67-3CA1-0CD5-77BD900F6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D79A24E-FD58-FCEA-D434-A4495E201666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Change in weight and depressive symptom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2" name="Picture 1" descr="A group of graphs showing different types of graphs&#10;&#10;AI-generated content may be incorrect.">
            <a:extLst>
              <a:ext uri="{FF2B5EF4-FFF2-40B4-BE49-F238E27FC236}">
                <a16:creationId xmlns:a16="http://schemas.microsoft.com/office/drawing/2014/main" id="{092A81AC-130D-E90F-F871-E4961B04F1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198" y="1476375"/>
            <a:ext cx="10161414" cy="5080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92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47CAE-E3C3-0760-CA92-F4B0FFE77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3040FE1-2636-62BA-626D-FF1C8D8F9EA4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On-treatment and off-treatment change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80051B-07F6-BD2C-0E21-A72ED80C3F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838" t="-2355" r="24271" b="-2119"/>
          <a:stretch/>
        </p:blipFill>
        <p:spPr>
          <a:xfrm>
            <a:off x="1581150" y="1394078"/>
            <a:ext cx="8424551" cy="499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81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69118E-049B-3790-3A9A-7647EBB2E6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2A10DCE-FED3-06EA-948B-AF6ADE3F8665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Quality of life per WHOQOL-HIV-BREF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7" name="Picture 6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7E512ADE-7B66-7DEA-FE49-E7DC149588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674" y="1586303"/>
            <a:ext cx="10924937" cy="40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5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AC9E0-17EE-646E-7E0E-FDA8AE74FB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F7650DB-BCE4-E843-3B4A-64A4BCE71785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LIROH conclusion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9C155F-305E-7030-C817-CDAFF6D7A41A}"/>
              </a:ext>
            </a:extLst>
          </p:cNvPr>
          <p:cNvSpPr txBox="1"/>
          <p:nvPr/>
        </p:nvSpPr>
        <p:spPr>
          <a:xfrm>
            <a:off x="514587" y="1610504"/>
            <a:ext cx="10991613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sz="2400" dirty="0">
                <a:latin typeface="+mj-lt"/>
              </a:rPr>
              <a:t>This trial is among the first studies of GLP-1 RAs in Southern Africa and demonstrates that this class for obesity treatment among PWH in this region is highly acceptable </a:t>
            </a:r>
          </a:p>
          <a:p>
            <a:pPr marL="342900" indent="-342900">
              <a:buAutoNum type="arabicPeriod"/>
            </a:pPr>
            <a:endParaRPr lang="en-US" sz="2400" dirty="0">
              <a:effectLst/>
              <a:latin typeface="+mj-lt"/>
              <a:ea typeface="DengXian" panose="02010600030101010101" pitchFamily="2" charset="-122"/>
            </a:endParaRPr>
          </a:p>
          <a:p>
            <a:pPr marL="342900" indent="-342900">
              <a:buAutoNum type="arabicPeriod"/>
            </a:pPr>
            <a:r>
              <a:rPr lang="en-US" sz="2400" dirty="0">
                <a:effectLst/>
                <a:latin typeface="+mj-lt"/>
                <a:ea typeface="DengXian" panose="02010600030101010101" pitchFamily="2" charset="-122"/>
              </a:rPr>
              <a:t>Participants experienced</a:t>
            </a:r>
            <a:r>
              <a:rPr lang="en-US" sz="2400" b="1" dirty="0">
                <a:effectLst/>
                <a:latin typeface="+mj-lt"/>
                <a:ea typeface="DengXian" panose="02010600030101010101" pitchFamily="2" charset="-122"/>
              </a:rPr>
              <a:t> </a:t>
            </a:r>
            <a:r>
              <a:rPr lang="en-US" sz="2400" dirty="0">
                <a:effectLst/>
                <a:latin typeface="+mj-lt"/>
                <a:ea typeface="DengXian" panose="02010600030101010101" pitchFamily="2" charset="-122"/>
              </a:rPr>
              <a:t>substantial reductions in weight, BMI, waist circumference, and body roundness index with liraglutide. </a:t>
            </a:r>
          </a:p>
          <a:p>
            <a:pPr marL="342900" indent="-342900">
              <a:buAutoNum type="arabicPeriod"/>
            </a:pPr>
            <a:endParaRPr lang="en-US" sz="2400" dirty="0">
              <a:latin typeface="+mj-lt"/>
              <a:ea typeface="DengXian" panose="02010600030101010101" pitchFamily="2" charset="-122"/>
            </a:endParaRPr>
          </a:p>
          <a:p>
            <a:pPr marL="342900" indent="-342900">
              <a:buAutoNum type="arabicPeriod"/>
            </a:pPr>
            <a:r>
              <a:rPr lang="en-US" sz="2400" dirty="0">
                <a:latin typeface="+mj-lt"/>
              </a:rPr>
              <a:t>In addition, mean HbA1c fell while depressive symptoms, sleep quality, and psychological QoL all improved significantly with treatment. </a:t>
            </a:r>
          </a:p>
        </p:txBody>
      </p:sp>
    </p:spTree>
    <p:extLst>
      <p:ext uri="{BB962C8B-B14F-4D97-AF65-F5344CB8AC3E}">
        <p14:creationId xmlns:p14="http://schemas.microsoft.com/office/powerpoint/2010/main" val="50514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5AC25-D946-B112-4BFC-3DA679BFF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F5EA680-FD73-472C-4824-50274DC01FFF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Frontier 1 – biopsies and the “leaky gut hypothesis”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2A2F2A-1695-960A-BBE4-413DA4BD2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388" y="1817762"/>
            <a:ext cx="11534775" cy="341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4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6B4A6-D79B-8AE1-EB5E-2B9B215F9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F8DA9C7-2963-BA43-9DCE-0330A9750FE6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Frontier II – adherence to GLP-1 RAs in HIV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5F3797-BF80-3576-F93D-E95877B06B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673750"/>
              </p:ext>
            </p:extLst>
          </p:nvPr>
        </p:nvGraphicFramePr>
        <p:xfrm>
          <a:off x="371388" y="1285874"/>
          <a:ext cx="11544762" cy="51912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76334">
                  <a:extLst>
                    <a:ext uri="{9D8B030D-6E8A-4147-A177-3AD203B41FA5}">
                      <a16:colId xmlns:a16="http://schemas.microsoft.com/office/drawing/2014/main" val="1366854299"/>
                    </a:ext>
                  </a:extLst>
                </a:gridCol>
                <a:gridCol w="3041416">
                  <a:extLst>
                    <a:ext uri="{9D8B030D-6E8A-4147-A177-3AD203B41FA5}">
                      <a16:colId xmlns:a16="http://schemas.microsoft.com/office/drawing/2014/main" val="337999679"/>
                    </a:ext>
                  </a:extLst>
                </a:gridCol>
                <a:gridCol w="2737274">
                  <a:extLst>
                    <a:ext uri="{9D8B030D-6E8A-4147-A177-3AD203B41FA5}">
                      <a16:colId xmlns:a16="http://schemas.microsoft.com/office/drawing/2014/main" val="1419336705"/>
                    </a:ext>
                  </a:extLst>
                </a:gridCol>
                <a:gridCol w="2389738">
                  <a:extLst>
                    <a:ext uri="{9D8B030D-6E8A-4147-A177-3AD203B41FA5}">
                      <a16:colId xmlns:a16="http://schemas.microsoft.com/office/drawing/2014/main" val="64044795"/>
                    </a:ext>
                  </a:extLst>
                </a:gridCol>
              </a:tblGrid>
              <a:tr h="318857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On-treatment changes by Proportion of Days Covered (PDC) &gt;8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0326214"/>
                  </a:ext>
                </a:extLst>
              </a:tr>
              <a:tr h="535282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Total chang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Does not meet PD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eets PD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547656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Bodyweight, k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3.1 (-4.02, -2.14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2.5 (-3.80, -1.21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3.7 (-4.92, -2.48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332840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BMI, kg/m</a:t>
                      </a:r>
                      <a:r>
                        <a:rPr lang="en-US" sz="1600" u="none" strike="noStrike" baseline="30000" dirty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1.2 (-1.77, -0.69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1.0 (-1.99, -0.10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1.6 (-2.33, -0.92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01121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Waist circumference, cm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5.6 (-8.10, -3.00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5.0 (-9.33, -0.66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5.3 (-7.79, -2.87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394381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BR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1.0 (-1.49, -0.48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9 (-1.78, -0.01)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1.0 (-1.43, -0.51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581752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Systolic blood pressure, mmH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1.6 (-6.50, 3.2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.9 (-3.41, 9.20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6.1 (-12.69, 0.43)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03498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Diastolic blood pressure, mmH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1.6 (-4.47, 1.36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.3 (-2.68, 5.31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4.6 (-8.29, -0.93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991106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LDL, mmol/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0.1 (-0.18, 0.04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1 (-0.28, 0.07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0 (-0.14, 0.0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83825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HbA1c, 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-0.3 (-0.44, -0.24)**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3 (-0.44, -0.17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-0.4 (-0.54, -0.24)**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37720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Depressive symptoms (PHQ-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-0.4 (-0.87, -0.02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6 (-1.16, -0.11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5 (-1.09, 0.14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906863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Sleep quality (PSQI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-1.6 (-2.55, -0.69)**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1.4 (-2.75, -0.09)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1.9 (-3.02, -0.71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006690"/>
                  </a:ext>
                </a:extLst>
              </a:tr>
              <a:tr h="2576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Sitting duration (mins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0.8 (-40.54, 62.06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61.0 (-27.36, 149.36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-23.8 (-73.72, 26.10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879025"/>
                  </a:ext>
                </a:extLst>
              </a:tr>
              <a:tr h="29718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SSB intak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315.0 (-495.59, -134.41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214.2 (-425.04, -3.38)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-355.2 (-606.01, -104.42)**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883826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Physical QO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7 (-0.17, 1.52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9 (-0.24, 1.9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5 (-0.61, 1.55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867793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Psychological QO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.6 (0.81, 2.45)**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.4 (0.24, 2.64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.8 (0.82, 2.72)**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9711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Social QO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0.4 (-0.83, 1.68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.0 (-1.12, 3.09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-0.1 (-1.36, 1.12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282877"/>
                  </a:ext>
                </a:extLst>
              </a:tr>
              <a:tr h="2701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Environmental QO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3 (-0.96, 1.62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5 (-1.34, 2.30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0.2 (-1.43, 1.93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630" marR="4630" marT="46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222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850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1E1B68-F32C-8BA5-7A2F-1E6E67BFA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4930BD1-5697-DD76-25CF-D9F034781D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B76B95-A628-D706-41CF-641674A678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D6DE004-4749-597F-E2F3-1E085FCDD0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0C6F46D-CD09-A418-6E15-C1DD27C9FB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26C6B7-38E0-CFDE-BC3E-9D5231E8C29F}"/>
              </a:ext>
            </a:extLst>
          </p:cNvPr>
          <p:cNvSpPr/>
          <p:nvPr/>
        </p:nvSpPr>
        <p:spPr>
          <a:xfrm>
            <a:off x="612396" y="2791437"/>
            <a:ext cx="10956022" cy="127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Implications for public health &amp; clinical practice in HIV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5A0ADF-8303-F487-75E7-E81F70124A2E}"/>
              </a:ext>
            </a:extLst>
          </p:cNvPr>
          <p:cNvSpPr/>
          <p:nvPr/>
        </p:nvSpPr>
        <p:spPr>
          <a:xfrm>
            <a:off x="440286" y="598974"/>
            <a:ext cx="11305180" cy="1422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3EBC37-6E89-96A7-CC3D-5C23AB87C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94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Study #1. ACTG 5371 “SLIM Liver”</a:t>
            </a:r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49265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Lake et al, 2024 </a:t>
            </a:r>
            <a:endParaRPr lang="en-US" sz="1000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76EF6E-4922-3F9D-D20B-DF79D364CC04}"/>
              </a:ext>
            </a:extLst>
          </p:cNvPr>
          <p:cNvSpPr/>
          <p:nvPr/>
        </p:nvSpPr>
        <p:spPr>
          <a:xfrm>
            <a:off x="7331303" y="1819258"/>
            <a:ext cx="207182" cy="4598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71B90C-F3EA-49D5-93BB-A5DE40DDEBB4}"/>
              </a:ext>
            </a:extLst>
          </p:cNvPr>
          <p:cNvSpPr/>
          <p:nvPr/>
        </p:nvSpPr>
        <p:spPr>
          <a:xfrm>
            <a:off x="3317358" y="2004238"/>
            <a:ext cx="217967" cy="274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146716" y="1352535"/>
            <a:ext cx="685478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j-lt"/>
              </a:rPr>
              <a:t>Phase IIb, open-label, single-arm pilot (n=49)</a:t>
            </a:r>
          </a:p>
          <a:p>
            <a:r>
              <a:rPr lang="en-US" sz="2200" dirty="0">
                <a:latin typeface="+mj-lt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j-lt"/>
              </a:rPr>
              <a:t>Semaglutide 1.0 mg weekly X 24 wee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u="sng" dirty="0"/>
              <a:t>Primary outcome</a:t>
            </a:r>
            <a:r>
              <a:rPr lang="en-US" sz="2200" dirty="0"/>
              <a:t>: intrahepatic triglyceride (IHTG) by MRI-proton density fat fraction (PDFF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+mj-lt"/>
            </a:endParaRPr>
          </a:p>
        </p:txBody>
      </p:sp>
      <p:sp>
        <p:nvSpPr>
          <p:cNvPr id="35" name="Rectangle: Rounded Corners 47">
            <a:extLst>
              <a:ext uri="{FF2B5EF4-FFF2-40B4-BE49-F238E27FC236}">
                <a16:creationId xmlns:a16="http://schemas.microsoft.com/office/drawing/2014/main" id="{F24D10CF-5142-B356-83AC-0C7F18DAF5F8}"/>
              </a:ext>
            </a:extLst>
          </p:cNvPr>
          <p:cNvSpPr>
            <a:spLocks/>
          </p:cNvSpPr>
          <p:nvPr/>
        </p:nvSpPr>
        <p:spPr>
          <a:xfrm>
            <a:off x="438388" y="1286190"/>
            <a:ext cx="4008155" cy="4371660"/>
          </a:xfrm>
          <a:prstGeom prst="roundRect">
            <a:avLst/>
          </a:prstGeom>
          <a:solidFill>
            <a:srgbClr val="19AAC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US" sz="2400" i="1" dirty="0">
                <a:solidFill>
                  <a:srgbClr val="333333"/>
                </a:solidFill>
              </a:rPr>
              <a:t>Study of </a:t>
            </a:r>
            <a:r>
              <a:rPr lang="en-US" sz="2400" i="1" u="sng" dirty="0" err="1">
                <a:solidFill>
                  <a:srgbClr val="333333"/>
                </a:solidFill>
              </a:rPr>
              <a:t>Semaglutide</a:t>
            </a:r>
            <a:r>
              <a:rPr lang="en-US" sz="2400" i="1" dirty="0">
                <a:solidFill>
                  <a:srgbClr val="333333"/>
                </a:solidFill>
              </a:rPr>
              <a:t> for Non-Alcoholic Fatty Liver Disease, a Metabolic Syndrome with Insulin Resistance, Increased Hepatic Lipids, and Increased Cardiovascular Disease Risk </a:t>
            </a:r>
          </a:p>
          <a:p>
            <a:pPr lvl="0" defTabSz="914400">
              <a:defRPr/>
            </a:pPr>
            <a:endParaRPr lang="en-US" sz="2400" b="1" dirty="0">
              <a:solidFill>
                <a:srgbClr val="333333"/>
              </a:solidFill>
            </a:endParaRPr>
          </a:p>
          <a:p>
            <a:pPr lvl="0" defTabSz="914400">
              <a:defRPr/>
            </a:pPr>
            <a:r>
              <a:rPr lang="en-US" sz="2400" b="1" dirty="0">
                <a:solidFill>
                  <a:srgbClr val="333333"/>
                </a:solidFill>
              </a:rPr>
              <a:t>The SLIM LIVER Study</a:t>
            </a:r>
          </a:p>
        </p:txBody>
      </p:sp>
      <p:sp>
        <p:nvSpPr>
          <p:cNvPr id="7" name="AutoShape 2" descr="Sellers of fake Ozempic to face charges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6" descr="Liraglutide UK | What is Liraglutide ...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AA547D3-4998-D443-7175-0E9ED07D774B}"/>
              </a:ext>
            </a:extLst>
          </p:cNvPr>
          <p:cNvSpPr>
            <a:spLocks/>
          </p:cNvSpPr>
          <p:nvPr/>
        </p:nvSpPr>
        <p:spPr>
          <a:xfrm>
            <a:off x="5235790" y="4030191"/>
            <a:ext cx="5975135" cy="2189634"/>
          </a:xfrm>
          <a:prstGeom prst="roundRect">
            <a:avLst/>
          </a:prstGeom>
          <a:solidFill>
            <a:srgbClr val="19AAC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EA9A68B-90DE-B151-8190-504182B96E4D}"/>
              </a:ext>
            </a:extLst>
          </p:cNvPr>
          <p:cNvGrpSpPr>
            <a:grpSpLocks/>
          </p:cNvGrpSpPr>
          <p:nvPr/>
        </p:nvGrpSpPr>
        <p:grpSpPr>
          <a:xfrm>
            <a:off x="6463009" y="4704517"/>
            <a:ext cx="1079515" cy="937752"/>
            <a:chOff x="1357566" y="4606178"/>
            <a:chExt cx="1437158" cy="1364043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0134CE7-C7E8-85AD-59F2-20911C714F65}"/>
                </a:ext>
              </a:extLst>
            </p:cNvPr>
            <p:cNvGrpSpPr>
              <a:grpSpLocks/>
            </p:cNvGrpSpPr>
            <p:nvPr/>
          </p:nvGrpSpPr>
          <p:grpSpPr>
            <a:xfrm>
              <a:off x="1618945" y="4606178"/>
              <a:ext cx="914400" cy="914400"/>
              <a:chOff x="8587577" y="2442411"/>
              <a:chExt cx="914400" cy="914400"/>
            </a:xfrm>
          </p:grpSpPr>
          <p:pic>
            <p:nvPicPr>
              <p:cNvPr id="12" name="Graphic 11" descr="No sign outline">
                <a:extLst>
                  <a:ext uri="{FF2B5EF4-FFF2-40B4-BE49-F238E27FC236}">
                    <a16:creationId xmlns:a16="http://schemas.microsoft.com/office/drawing/2014/main" id="{09F1A6E0-B7CD-044D-D0F5-6668064B6E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587577" y="2442411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3" name="Graphic 12" descr="Baby with solid fill">
                <a:extLst>
                  <a:ext uri="{FF2B5EF4-FFF2-40B4-BE49-F238E27FC236}">
                    <a16:creationId xmlns:a16="http://schemas.microsoft.com/office/drawing/2014/main" id="{42CE39E3-98C8-7D56-3B3F-394D751651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733004" y="2587838"/>
                <a:ext cx="623545" cy="623545"/>
              </a:xfrm>
              <a:prstGeom prst="rect">
                <a:avLst/>
              </a:prstGeom>
            </p:spPr>
          </p:pic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C1BFC8C-B40B-CCFF-3F0B-52B334089FB2}"/>
                </a:ext>
              </a:extLst>
            </p:cNvPr>
            <p:cNvSpPr txBox="1">
              <a:spLocks/>
            </p:cNvSpPr>
            <p:nvPr/>
          </p:nvSpPr>
          <p:spPr>
            <a:xfrm>
              <a:off x="1357566" y="5522532"/>
              <a:ext cx="1437158" cy="447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en-US" sz="1400" dirty="0"/>
                <a:t>18 years 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A58D67A-D8D5-4AB6-6B3F-A6CC93DF03D5}"/>
              </a:ext>
            </a:extLst>
          </p:cNvPr>
          <p:cNvGrpSpPr>
            <a:grpSpLocks/>
          </p:cNvGrpSpPr>
          <p:nvPr/>
        </p:nvGrpSpPr>
        <p:grpSpPr>
          <a:xfrm>
            <a:off x="7456239" y="4757447"/>
            <a:ext cx="1131611" cy="843154"/>
            <a:chOff x="2624610" y="4606178"/>
            <a:chExt cx="1437158" cy="1254440"/>
          </a:xfrm>
        </p:grpSpPr>
        <p:grpSp>
          <p:nvGrpSpPr>
            <p:cNvPr id="15" name="Content Placeholder 6" descr="Medicine with solid fill">
              <a:extLst>
                <a:ext uri="{FF2B5EF4-FFF2-40B4-BE49-F238E27FC236}">
                  <a16:creationId xmlns:a16="http://schemas.microsoft.com/office/drawing/2014/main" id="{662550C7-6686-A97B-C2CE-F26913EB672E}"/>
                </a:ext>
              </a:extLst>
            </p:cNvPr>
            <p:cNvGrpSpPr>
              <a:grpSpLocks/>
            </p:cNvGrpSpPr>
            <p:nvPr/>
          </p:nvGrpSpPr>
          <p:grpSpPr>
            <a:xfrm>
              <a:off x="3133639" y="4606178"/>
              <a:ext cx="476250" cy="762000"/>
              <a:chOff x="9771331" y="1922533"/>
              <a:chExt cx="476250" cy="762000"/>
            </a:xfrm>
            <a:solidFill>
              <a:srgbClr val="000000"/>
            </a:solidFill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49E0CD60-581B-CA29-1D69-13FDE4DE94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71331" y="1922533"/>
                <a:ext cx="419100" cy="685800"/>
              </a:xfrm>
              <a:custGeom>
                <a:avLst/>
                <a:gdLst>
                  <a:gd name="connsiteX0" fmla="*/ 419100 w 419100"/>
                  <a:gd name="connsiteY0" fmla="*/ 571500 h 685800"/>
                  <a:gd name="connsiteX1" fmla="*/ 419100 w 419100"/>
                  <a:gd name="connsiteY1" fmla="*/ 495300 h 685800"/>
                  <a:gd name="connsiteX2" fmla="*/ 95250 w 419100"/>
                  <a:gd name="connsiteY2" fmla="*/ 495300 h 685800"/>
                  <a:gd name="connsiteX3" fmla="*/ 76200 w 419100"/>
                  <a:gd name="connsiteY3" fmla="*/ 476250 h 685800"/>
                  <a:gd name="connsiteX4" fmla="*/ 76200 w 419100"/>
                  <a:gd name="connsiteY4" fmla="*/ 285750 h 685800"/>
                  <a:gd name="connsiteX5" fmla="*/ 95250 w 419100"/>
                  <a:gd name="connsiteY5" fmla="*/ 266700 h 685800"/>
                  <a:gd name="connsiteX6" fmla="*/ 419100 w 419100"/>
                  <a:gd name="connsiteY6" fmla="*/ 266700 h 685800"/>
                  <a:gd name="connsiteX7" fmla="*/ 419100 w 419100"/>
                  <a:gd name="connsiteY7" fmla="*/ 190500 h 685800"/>
                  <a:gd name="connsiteX8" fmla="*/ 381000 w 419100"/>
                  <a:gd name="connsiteY8" fmla="*/ 152400 h 685800"/>
                  <a:gd name="connsiteX9" fmla="*/ 347663 w 419100"/>
                  <a:gd name="connsiteY9" fmla="*/ 152400 h 685800"/>
                  <a:gd name="connsiteX10" fmla="*/ 342900 w 419100"/>
                  <a:gd name="connsiteY10" fmla="*/ 147638 h 685800"/>
                  <a:gd name="connsiteX11" fmla="*/ 342900 w 419100"/>
                  <a:gd name="connsiteY11" fmla="*/ 119063 h 685800"/>
                  <a:gd name="connsiteX12" fmla="*/ 347663 w 419100"/>
                  <a:gd name="connsiteY12" fmla="*/ 114300 h 685800"/>
                  <a:gd name="connsiteX13" fmla="*/ 371475 w 419100"/>
                  <a:gd name="connsiteY13" fmla="*/ 114300 h 685800"/>
                  <a:gd name="connsiteX14" fmla="*/ 381000 w 419100"/>
                  <a:gd name="connsiteY14" fmla="*/ 104775 h 685800"/>
                  <a:gd name="connsiteX15" fmla="*/ 381000 w 419100"/>
                  <a:gd name="connsiteY15" fmla="*/ 38100 h 685800"/>
                  <a:gd name="connsiteX16" fmla="*/ 342900 w 419100"/>
                  <a:gd name="connsiteY16" fmla="*/ 0 h 685800"/>
                  <a:gd name="connsiteX17" fmla="*/ 76200 w 419100"/>
                  <a:gd name="connsiteY17" fmla="*/ 0 h 685800"/>
                  <a:gd name="connsiteX18" fmla="*/ 38100 w 419100"/>
                  <a:gd name="connsiteY18" fmla="*/ 38100 h 685800"/>
                  <a:gd name="connsiteX19" fmla="*/ 38100 w 419100"/>
                  <a:gd name="connsiteY19" fmla="*/ 104775 h 685800"/>
                  <a:gd name="connsiteX20" fmla="*/ 47625 w 419100"/>
                  <a:gd name="connsiteY20" fmla="*/ 114300 h 685800"/>
                  <a:gd name="connsiteX21" fmla="*/ 71438 w 419100"/>
                  <a:gd name="connsiteY21" fmla="*/ 114300 h 685800"/>
                  <a:gd name="connsiteX22" fmla="*/ 76200 w 419100"/>
                  <a:gd name="connsiteY22" fmla="*/ 119063 h 685800"/>
                  <a:gd name="connsiteX23" fmla="*/ 76200 w 419100"/>
                  <a:gd name="connsiteY23" fmla="*/ 147638 h 685800"/>
                  <a:gd name="connsiteX24" fmla="*/ 71438 w 419100"/>
                  <a:gd name="connsiteY24" fmla="*/ 152400 h 685800"/>
                  <a:gd name="connsiteX25" fmla="*/ 38100 w 419100"/>
                  <a:gd name="connsiteY25" fmla="*/ 152400 h 685800"/>
                  <a:gd name="connsiteX26" fmla="*/ 0 w 419100"/>
                  <a:gd name="connsiteY26" fmla="*/ 190500 h 685800"/>
                  <a:gd name="connsiteX27" fmla="*/ 0 w 419100"/>
                  <a:gd name="connsiteY27" fmla="*/ 647700 h 685800"/>
                  <a:gd name="connsiteX28" fmla="*/ 38100 w 419100"/>
                  <a:gd name="connsiteY28" fmla="*/ 685800 h 685800"/>
                  <a:gd name="connsiteX29" fmla="*/ 171450 w 419100"/>
                  <a:gd name="connsiteY29" fmla="*/ 685800 h 685800"/>
                  <a:gd name="connsiteX30" fmla="*/ 285750 w 419100"/>
                  <a:gd name="connsiteY30" fmla="*/ 571500 h 685800"/>
                  <a:gd name="connsiteX31" fmla="*/ 419100 w 419100"/>
                  <a:gd name="connsiteY31" fmla="*/ 571500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19100" h="685800">
                    <a:moveTo>
                      <a:pt x="419100" y="571500"/>
                    </a:moveTo>
                    <a:lnTo>
                      <a:pt x="419100" y="495300"/>
                    </a:lnTo>
                    <a:lnTo>
                      <a:pt x="95250" y="495300"/>
                    </a:lnTo>
                    <a:cubicBezTo>
                      <a:pt x="84773" y="495300"/>
                      <a:pt x="76200" y="486728"/>
                      <a:pt x="76200" y="476250"/>
                    </a:cubicBezTo>
                    <a:lnTo>
                      <a:pt x="76200" y="285750"/>
                    </a:lnTo>
                    <a:cubicBezTo>
                      <a:pt x="76200" y="275273"/>
                      <a:pt x="84773" y="266700"/>
                      <a:pt x="95250" y="266700"/>
                    </a:cubicBezTo>
                    <a:lnTo>
                      <a:pt x="419100" y="266700"/>
                    </a:lnTo>
                    <a:lnTo>
                      <a:pt x="419100" y="190500"/>
                    </a:lnTo>
                    <a:cubicBezTo>
                      <a:pt x="419100" y="169545"/>
                      <a:pt x="401955" y="152400"/>
                      <a:pt x="381000" y="152400"/>
                    </a:cubicBezTo>
                    <a:lnTo>
                      <a:pt x="347663" y="152400"/>
                    </a:lnTo>
                    <a:cubicBezTo>
                      <a:pt x="344805" y="152400"/>
                      <a:pt x="342900" y="150495"/>
                      <a:pt x="342900" y="147638"/>
                    </a:cubicBezTo>
                    <a:lnTo>
                      <a:pt x="342900" y="119063"/>
                    </a:lnTo>
                    <a:cubicBezTo>
                      <a:pt x="342900" y="116205"/>
                      <a:pt x="344805" y="114300"/>
                      <a:pt x="347663" y="114300"/>
                    </a:cubicBezTo>
                    <a:lnTo>
                      <a:pt x="371475" y="114300"/>
                    </a:lnTo>
                    <a:cubicBezTo>
                      <a:pt x="377190" y="114300"/>
                      <a:pt x="381000" y="110490"/>
                      <a:pt x="381000" y="104775"/>
                    </a:cubicBezTo>
                    <a:lnTo>
                      <a:pt x="381000" y="38100"/>
                    </a:lnTo>
                    <a:cubicBezTo>
                      <a:pt x="381000" y="17145"/>
                      <a:pt x="363855" y="0"/>
                      <a:pt x="342900" y="0"/>
                    </a:cubicBezTo>
                    <a:lnTo>
                      <a:pt x="76200" y="0"/>
                    </a:lnTo>
                    <a:cubicBezTo>
                      <a:pt x="55245" y="0"/>
                      <a:pt x="38100" y="17145"/>
                      <a:pt x="38100" y="38100"/>
                    </a:cubicBezTo>
                    <a:lnTo>
                      <a:pt x="38100" y="104775"/>
                    </a:lnTo>
                    <a:cubicBezTo>
                      <a:pt x="38100" y="110490"/>
                      <a:pt x="41910" y="114300"/>
                      <a:pt x="47625" y="114300"/>
                    </a:cubicBezTo>
                    <a:lnTo>
                      <a:pt x="71438" y="114300"/>
                    </a:lnTo>
                    <a:cubicBezTo>
                      <a:pt x="74295" y="114300"/>
                      <a:pt x="76200" y="116205"/>
                      <a:pt x="76200" y="119063"/>
                    </a:cubicBezTo>
                    <a:lnTo>
                      <a:pt x="76200" y="147638"/>
                    </a:lnTo>
                    <a:cubicBezTo>
                      <a:pt x="76200" y="150495"/>
                      <a:pt x="74295" y="152400"/>
                      <a:pt x="71438" y="152400"/>
                    </a:cubicBezTo>
                    <a:lnTo>
                      <a:pt x="38100" y="152400"/>
                    </a:lnTo>
                    <a:cubicBezTo>
                      <a:pt x="17145" y="152400"/>
                      <a:pt x="0" y="169545"/>
                      <a:pt x="0" y="190500"/>
                    </a:cubicBezTo>
                    <a:lnTo>
                      <a:pt x="0" y="647700"/>
                    </a:lnTo>
                    <a:cubicBezTo>
                      <a:pt x="0" y="668655"/>
                      <a:pt x="17145" y="685800"/>
                      <a:pt x="38100" y="685800"/>
                    </a:cubicBezTo>
                    <a:lnTo>
                      <a:pt x="171450" y="685800"/>
                    </a:lnTo>
                    <a:cubicBezTo>
                      <a:pt x="171450" y="622935"/>
                      <a:pt x="222885" y="571500"/>
                      <a:pt x="285750" y="571500"/>
                    </a:cubicBezTo>
                    <a:lnTo>
                      <a:pt x="419100" y="5715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38C7AB30-769E-A185-6D67-5697DA7055F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28481" y="2227333"/>
                <a:ext cx="304800" cy="152401"/>
              </a:xfrm>
              <a:custGeom>
                <a:avLst/>
                <a:gdLst>
                  <a:gd name="connsiteX0" fmla="*/ 0 w 304800"/>
                  <a:gd name="connsiteY0" fmla="*/ 9525 h 152400"/>
                  <a:gd name="connsiteX1" fmla="*/ 0 w 304800"/>
                  <a:gd name="connsiteY1" fmla="*/ 142875 h 152400"/>
                  <a:gd name="connsiteX2" fmla="*/ 9525 w 304800"/>
                  <a:gd name="connsiteY2" fmla="*/ 152400 h 152400"/>
                  <a:gd name="connsiteX3" fmla="*/ 304800 w 304800"/>
                  <a:gd name="connsiteY3" fmla="*/ 152400 h 152400"/>
                  <a:gd name="connsiteX4" fmla="*/ 304800 w 304800"/>
                  <a:gd name="connsiteY4" fmla="*/ 0 h 152400"/>
                  <a:gd name="connsiteX5" fmla="*/ 9525 w 304800"/>
                  <a:gd name="connsiteY5" fmla="*/ 0 h 152400"/>
                  <a:gd name="connsiteX6" fmla="*/ 0 w 304800"/>
                  <a:gd name="connsiteY6" fmla="*/ 952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0" y="9525"/>
                    </a:moveTo>
                    <a:lnTo>
                      <a:pt x="0" y="142875"/>
                    </a:lnTo>
                    <a:cubicBezTo>
                      <a:pt x="0" y="148590"/>
                      <a:pt x="3810" y="152400"/>
                      <a:pt x="9525" y="152400"/>
                    </a:cubicBezTo>
                    <a:lnTo>
                      <a:pt x="304800" y="152400"/>
                    </a:lnTo>
                    <a:lnTo>
                      <a:pt x="304800" y="0"/>
                    </a:ln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3645AA24-3F21-DEE5-5AD8-AEC5B4D06A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923731" y="2532133"/>
                <a:ext cx="323850" cy="152400"/>
              </a:xfrm>
              <a:custGeom>
                <a:avLst/>
                <a:gdLst>
                  <a:gd name="connsiteX0" fmla="*/ 161925 w 323850"/>
                  <a:gd name="connsiteY0" fmla="*/ 114300 h 152400"/>
                  <a:gd name="connsiteX1" fmla="*/ 76200 w 323850"/>
                  <a:gd name="connsiteY1" fmla="*/ 114300 h 152400"/>
                  <a:gd name="connsiteX2" fmla="*/ 38100 w 323850"/>
                  <a:gd name="connsiteY2" fmla="*/ 76200 h 152400"/>
                  <a:gd name="connsiteX3" fmla="*/ 76200 w 323850"/>
                  <a:gd name="connsiteY3" fmla="*/ 38100 h 152400"/>
                  <a:gd name="connsiteX4" fmla="*/ 161925 w 323850"/>
                  <a:gd name="connsiteY4" fmla="*/ 38100 h 152400"/>
                  <a:gd name="connsiteX5" fmla="*/ 161925 w 323850"/>
                  <a:gd name="connsiteY5" fmla="*/ 114300 h 152400"/>
                  <a:gd name="connsiteX6" fmla="*/ 247650 w 323850"/>
                  <a:gd name="connsiteY6" fmla="*/ 0 h 152400"/>
                  <a:gd name="connsiteX7" fmla="*/ 76200 w 323850"/>
                  <a:gd name="connsiteY7" fmla="*/ 0 h 152400"/>
                  <a:gd name="connsiteX8" fmla="*/ 0 w 323850"/>
                  <a:gd name="connsiteY8" fmla="*/ 76200 h 152400"/>
                  <a:gd name="connsiteX9" fmla="*/ 76200 w 323850"/>
                  <a:gd name="connsiteY9" fmla="*/ 152400 h 152400"/>
                  <a:gd name="connsiteX10" fmla="*/ 247650 w 323850"/>
                  <a:gd name="connsiteY10" fmla="*/ 152400 h 152400"/>
                  <a:gd name="connsiteX11" fmla="*/ 323850 w 323850"/>
                  <a:gd name="connsiteY11" fmla="*/ 76200 h 152400"/>
                  <a:gd name="connsiteX12" fmla="*/ 247650 w 323850"/>
                  <a:gd name="connsiteY1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850" h="152400">
                    <a:moveTo>
                      <a:pt x="161925" y="114300"/>
                    </a:moveTo>
                    <a:lnTo>
                      <a:pt x="76200" y="114300"/>
                    </a:lnTo>
                    <a:cubicBezTo>
                      <a:pt x="55245" y="114300"/>
                      <a:pt x="38100" y="97155"/>
                      <a:pt x="38100" y="76200"/>
                    </a:cubicBezTo>
                    <a:cubicBezTo>
                      <a:pt x="38100" y="55245"/>
                      <a:pt x="55245" y="38100"/>
                      <a:pt x="76200" y="38100"/>
                    </a:cubicBezTo>
                    <a:lnTo>
                      <a:pt x="161925" y="38100"/>
                    </a:lnTo>
                    <a:lnTo>
                      <a:pt x="161925" y="114300"/>
                    </a:lnTo>
                    <a:close/>
                    <a:moveTo>
                      <a:pt x="247650" y="0"/>
                    </a:moveTo>
                    <a:lnTo>
                      <a:pt x="76200" y="0"/>
                    </a:lnTo>
                    <a:cubicBezTo>
                      <a:pt x="34290" y="0"/>
                      <a:pt x="0" y="34290"/>
                      <a:pt x="0" y="76200"/>
                    </a:cubicBezTo>
                    <a:cubicBezTo>
                      <a:pt x="0" y="118110"/>
                      <a:pt x="34290" y="152400"/>
                      <a:pt x="76200" y="152400"/>
                    </a:cubicBezTo>
                    <a:lnTo>
                      <a:pt x="247650" y="152400"/>
                    </a:lnTo>
                    <a:cubicBezTo>
                      <a:pt x="289560" y="152400"/>
                      <a:pt x="323850" y="118110"/>
                      <a:pt x="323850" y="76200"/>
                    </a:cubicBezTo>
                    <a:cubicBezTo>
                      <a:pt x="323850" y="34290"/>
                      <a:pt x="289560" y="0"/>
                      <a:pt x="24765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08E08F-3FD5-2060-39A1-A6617E9B1FCD}"/>
                </a:ext>
              </a:extLst>
            </p:cNvPr>
            <p:cNvSpPr txBox="1">
              <a:spLocks/>
            </p:cNvSpPr>
            <p:nvPr/>
          </p:nvSpPr>
          <p:spPr>
            <a:xfrm>
              <a:off x="2624610" y="5445537"/>
              <a:ext cx="1437158" cy="41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On ART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D4B534-7F48-8A25-7356-486C1C602A66}"/>
              </a:ext>
            </a:extLst>
          </p:cNvPr>
          <p:cNvGrpSpPr>
            <a:grpSpLocks/>
          </p:cNvGrpSpPr>
          <p:nvPr/>
        </p:nvGrpSpPr>
        <p:grpSpPr>
          <a:xfrm>
            <a:off x="9973393" y="4655314"/>
            <a:ext cx="1060546" cy="1110257"/>
            <a:chOff x="5964480" y="4606178"/>
            <a:chExt cx="1430953" cy="1733089"/>
          </a:xfrm>
        </p:grpSpPr>
        <p:pic>
          <p:nvPicPr>
            <p:cNvPr id="21" name="Picture 2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75D127F2-AD36-EEFE-125A-4E5818AF9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19655" y="4606178"/>
              <a:ext cx="914400" cy="91440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FD35644-E8A2-6653-EE4C-D982CA044A66}"/>
                </a:ext>
              </a:extLst>
            </p:cNvPr>
            <p:cNvSpPr txBox="1">
              <a:spLocks/>
            </p:cNvSpPr>
            <p:nvPr/>
          </p:nvSpPr>
          <p:spPr>
            <a:xfrm>
              <a:off x="5964480" y="5522531"/>
              <a:ext cx="1430953" cy="816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SLD</a:t>
              </a:r>
            </a:p>
            <a:p>
              <a:pPr algn="ctr"/>
              <a:r>
                <a:rPr lang="en-US" sz="1400" dirty="0"/>
                <a:t>IHTG ≥5%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0F7B43E-FE45-F4E1-29D7-F1163AFBD884}"/>
              </a:ext>
            </a:extLst>
          </p:cNvPr>
          <p:cNvGrpSpPr>
            <a:grpSpLocks/>
          </p:cNvGrpSpPr>
          <p:nvPr/>
        </p:nvGrpSpPr>
        <p:grpSpPr>
          <a:xfrm>
            <a:off x="8371606" y="4657595"/>
            <a:ext cx="1591638" cy="1123670"/>
            <a:chOff x="4210328" y="4606178"/>
            <a:chExt cx="1958679" cy="1714846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A6CF015-D9E3-377C-0C12-2CD1316A7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732468" y="4606178"/>
              <a:ext cx="914400" cy="9144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5FA95E3-FF3D-4526-F388-E078D4BE77B6}"/>
                </a:ext>
              </a:extLst>
            </p:cNvPr>
            <p:cNvSpPr txBox="1">
              <a:spLocks/>
            </p:cNvSpPr>
            <p:nvPr/>
          </p:nvSpPr>
          <p:spPr>
            <a:xfrm>
              <a:off x="4210328" y="5522532"/>
              <a:ext cx="1958679" cy="7984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Central adiposity + insulin resistance,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9D3BB76-F47C-8815-1623-ABFCD64811E3}"/>
              </a:ext>
            </a:extLst>
          </p:cNvPr>
          <p:cNvGrpSpPr>
            <a:grpSpLocks/>
          </p:cNvGrpSpPr>
          <p:nvPr/>
        </p:nvGrpSpPr>
        <p:grpSpPr>
          <a:xfrm>
            <a:off x="5509737" y="4720206"/>
            <a:ext cx="833857" cy="915335"/>
            <a:chOff x="382447" y="4606178"/>
            <a:chExt cx="1110114" cy="1331435"/>
          </a:xfrm>
        </p:grpSpPr>
        <p:pic>
          <p:nvPicPr>
            <p:cNvPr id="29" name="Picture 28" descr="A black and white logo&#10;&#10;Description automatically generated">
              <a:extLst>
                <a:ext uri="{FF2B5EF4-FFF2-40B4-BE49-F238E27FC236}">
                  <a16:creationId xmlns:a16="http://schemas.microsoft.com/office/drawing/2014/main" id="{A6CBB8CE-02D3-9703-0285-78B3D3BA26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0933" y="4606178"/>
              <a:ext cx="913142" cy="913142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070C22A-4F50-D29A-2DD8-1DFED62B6B74}"/>
                </a:ext>
              </a:extLst>
            </p:cNvPr>
            <p:cNvSpPr txBox="1">
              <a:spLocks/>
            </p:cNvSpPr>
            <p:nvPr/>
          </p:nvSpPr>
          <p:spPr>
            <a:xfrm>
              <a:off x="382447" y="5522532"/>
              <a:ext cx="1110114" cy="41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cs typeface="Calibri" panose="020F0502020204030204" pitchFamily="34" charset="0"/>
                </a:rPr>
                <a:t>PWH</a:t>
              </a:r>
              <a:endParaRPr lang="en-US" sz="1400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4FE201C-B8AB-9CA9-5D08-0462A7E7F845}"/>
              </a:ext>
            </a:extLst>
          </p:cNvPr>
          <p:cNvSpPr txBox="1">
            <a:spLocks/>
          </p:cNvSpPr>
          <p:nvPr/>
        </p:nvSpPr>
        <p:spPr>
          <a:xfrm>
            <a:off x="6720953" y="4149629"/>
            <a:ext cx="3216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clusion Criteria:</a:t>
            </a:r>
          </a:p>
        </p:txBody>
      </p:sp>
    </p:spTree>
    <p:extLst>
      <p:ext uri="{BB962C8B-B14F-4D97-AF65-F5344CB8AC3E}">
        <p14:creationId xmlns:p14="http://schemas.microsoft.com/office/powerpoint/2010/main" val="350350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AA807B-9223-BEC8-9636-945ED82DA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57974" y="2019523"/>
            <a:ext cx="9611144" cy="3633047"/>
          </a:xfrm>
        </p:spPr>
        <p:txBody>
          <a:bodyPr anchor="t">
            <a:normAutofit/>
          </a:bodyPr>
          <a:lstStyle/>
          <a:p>
            <a:r>
              <a:rPr 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Improvements in IHTG correlated with weight loss on semaglutide (p&lt;0.0001)</a:t>
            </a:r>
          </a:p>
          <a:p>
            <a:pPr lvl="2"/>
            <a:r>
              <a:rPr 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Baseline IHTG: 12.7%</a:t>
            </a:r>
          </a:p>
          <a:p>
            <a:pPr lvl="2"/>
            <a:r>
              <a:rPr 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29% with complete resolution of MASLD (IHTG &lt;5%)</a:t>
            </a:r>
          </a:p>
          <a:p>
            <a:pPr lvl="2"/>
            <a:r>
              <a:rPr 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58% with ≥30% relative reduction of MASLD</a:t>
            </a:r>
          </a:p>
          <a:p>
            <a:r>
              <a:rPr 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Greater improvements in women, non-white and older age people</a:t>
            </a:r>
          </a:p>
        </p:txBody>
      </p:sp>
      <p:pic>
        <p:nvPicPr>
          <p:cNvPr id="43" name="Picture 42" descr="A screenshot of a document&#10;&#10;Description automatically generated">
            <a:extLst>
              <a:ext uri="{FF2B5EF4-FFF2-40B4-BE49-F238E27FC236}">
                <a16:creationId xmlns:a16="http://schemas.microsoft.com/office/drawing/2014/main" id="{7C414B65-03EE-70D2-FAA5-86D90B36B5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68" t="8749" r="16450" b="74028"/>
          <a:stretch/>
        </p:blipFill>
        <p:spPr>
          <a:xfrm>
            <a:off x="2998095" y="4581656"/>
            <a:ext cx="6195809" cy="206157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E44D27B-D3F2-610C-AB81-B7F9AB6D3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 dirty="0"/>
              <a:t>ACTG 5371 SLIM LIVER STUDY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4F80A692-4F1F-0888-1991-748C86D6E025}"/>
              </a:ext>
            </a:extLst>
          </p:cNvPr>
          <p:cNvSpPr txBox="1">
            <a:spLocks/>
          </p:cNvSpPr>
          <p:nvPr/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18635" y="6520121"/>
            <a:ext cx="49265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Lake et al, 2024 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98938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9B2B3E-A38E-8DC2-BBE3-58773F28E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6EC14A9-40A5-1DC8-C7CA-40FAC28EEED4}"/>
              </a:ext>
            </a:extLst>
          </p:cNvPr>
          <p:cNvSpPr txBox="1">
            <a:spLocks/>
          </p:cNvSpPr>
          <p:nvPr/>
        </p:nvSpPr>
        <p:spPr>
          <a:xfrm>
            <a:off x="363983" y="585181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3200" dirty="0">
                <a:effectLst/>
                <a:ea typeface="Times New Roman" panose="02020603050405020304" pitchFamily="18" charset="0"/>
              </a:rPr>
              <a:t>Study #2. </a:t>
            </a:r>
            <a:r>
              <a:rPr lang="en-US" sz="3200" dirty="0">
                <a:effectLst/>
                <a:ea typeface="Times New Roman" panose="02020603050405020304" pitchFamily="18" charset="0"/>
              </a:rPr>
              <a:t>Semaglutide in HIV-associated </a:t>
            </a:r>
            <a:r>
              <a:rPr lang="en-US" sz="3200" dirty="0" err="1">
                <a:effectLst/>
                <a:ea typeface="Times New Roman" panose="02020603050405020304" pitchFamily="18" charset="0"/>
              </a:rPr>
              <a:t>lipohypertrophy</a:t>
            </a:r>
            <a:endParaRPr lang="en-US" sz="32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70BFE0-44C9-521C-D55B-04452CE38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11" name="Rectangle: Rounded Corners 47">
            <a:extLst>
              <a:ext uri="{FF2B5EF4-FFF2-40B4-BE49-F238E27FC236}">
                <a16:creationId xmlns:a16="http://schemas.microsoft.com/office/drawing/2014/main" id="{AADF2D25-80C7-5C52-7308-F91E2E02194B}"/>
              </a:ext>
            </a:extLst>
          </p:cNvPr>
          <p:cNvSpPr>
            <a:spLocks/>
          </p:cNvSpPr>
          <p:nvPr/>
        </p:nvSpPr>
        <p:spPr>
          <a:xfrm>
            <a:off x="6300730" y="1709979"/>
            <a:ext cx="5310080" cy="2938648"/>
          </a:xfrm>
          <a:prstGeom prst="roundRect">
            <a:avLst/>
          </a:prstGeom>
          <a:solidFill>
            <a:srgbClr val="19AAC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D3F5C68-2546-4714-A950-22F343BE7857}"/>
              </a:ext>
            </a:extLst>
          </p:cNvPr>
          <p:cNvGrpSpPr>
            <a:grpSpLocks/>
          </p:cNvGrpSpPr>
          <p:nvPr/>
        </p:nvGrpSpPr>
        <p:grpSpPr>
          <a:xfrm>
            <a:off x="7635553" y="2535517"/>
            <a:ext cx="1065635" cy="1202685"/>
            <a:chOff x="1357566" y="4606178"/>
            <a:chExt cx="1437158" cy="162199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424FA3E-2425-FF05-53DB-E2026B45FAEF}"/>
                </a:ext>
              </a:extLst>
            </p:cNvPr>
            <p:cNvGrpSpPr>
              <a:grpSpLocks/>
            </p:cNvGrpSpPr>
            <p:nvPr/>
          </p:nvGrpSpPr>
          <p:grpSpPr>
            <a:xfrm>
              <a:off x="1618945" y="4606178"/>
              <a:ext cx="914400" cy="914400"/>
              <a:chOff x="8587577" y="2442411"/>
              <a:chExt cx="914400" cy="914400"/>
            </a:xfrm>
          </p:grpSpPr>
          <p:pic>
            <p:nvPicPr>
              <p:cNvPr id="15" name="Graphic 8" descr="No sign outline">
                <a:extLst>
                  <a:ext uri="{FF2B5EF4-FFF2-40B4-BE49-F238E27FC236}">
                    <a16:creationId xmlns:a16="http://schemas.microsoft.com/office/drawing/2014/main" id="{0E4045D4-D263-863D-FC12-4B8E3ADA0A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587577" y="2442411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6" name="Graphic 10" descr="Baby with solid fill">
                <a:extLst>
                  <a:ext uri="{FF2B5EF4-FFF2-40B4-BE49-F238E27FC236}">
                    <a16:creationId xmlns:a16="http://schemas.microsoft.com/office/drawing/2014/main" id="{00925157-6CA9-9457-2342-9FE8FBA811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733004" y="2587838"/>
                <a:ext cx="623545" cy="623545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06F885-2B89-3E73-7589-50B6F729EF7A}"/>
                </a:ext>
              </a:extLst>
            </p:cNvPr>
            <p:cNvSpPr txBox="1">
              <a:spLocks/>
            </p:cNvSpPr>
            <p:nvPr/>
          </p:nvSpPr>
          <p:spPr>
            <a:xfrm>
              <a:off x="1357566" y="5522532"/>
              <a:ext cx="1437158" cy="705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en-US" sz="1400" dirty="0"/>
                <a:t>18 years ol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DA2AD90-794B-3325-34E4-F31ECA79F6C2}"/>
              </a:ext>
            </a:extLst>
          </p:cNvPr>
          <p:cNvGrpSpPr>
            <a:grpSpLocks/>
          </p:cNvGrpSpPr>
          <p:nvPr/>
        </p:nvGrpSpPr>
        <p:grpSpPr>
          <a:xfrm>
            <a:off x="8852519" y="2593396"/>
            <a:ext cx="1065635" cy="930151"/>
            <a:chOff x="2624610" y="4606178"/>
            <a:chExt cx="1437158" cy="1254440"/>
          </a:xfrm>
        </p:grpSpPr>
        <p:grpSp>
          <p:nvGrpSpPr>
            <p:cNvPr id="18" name="Content Placeholder 6" descr="Medicine with solid fill">
              <a:extLst>
                <a:ext uri="{FF2B5EF4-FFF2-40B4-BE49-F238E27FC236}">
                  <a16:creationId xmlns:a16="http://schemas.microsoft.com/office/drawing/2014/main" id="{0B38A32F-747B-81E5-3AB8-C1AB98F301D1}"/>
                </a:ext>
              </a:extLst>
            </p:cNvPr>
            <p:cNvGrpSpPr>
              <a:grpSpLocks/>
            </p:cNvGrpSpPr>
            <p:nvPr/>
          </p:nvGrpSpPr>
          <p:grpSpPr>
            <a:xfrm>
              <a:off x="3133639" y="4606178"/>
              <a:ext cx="476250" cy="762000"/>
              <a:chOff x="9771331" y="1922533"/>
              <a:chExt cx="476250" cy="762000"/>
            </a:xfrm>
            <a:solidFill>
              <a:srgbClr val="000000"/>
            </a:solidFill>
          </p:grpSpPr>
          <p:sp>
            <p:nvSpPr>
              <p:cNvPr id="20" name="Freeform: Shape 32">
                <a:extLst>
                  <a:ext uri="{FF2B5EF4-FFF2-40B4-BE49-F238E27FC236}">
                    <a16:creationId xmlns:a16="http://schemas.microsoft.com/office/drawing/2014/main" id="{527EE529-A83B-205B-9BCE-1FE2F5BCE2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71331" y="1922533"/>
                <a:ext cx="419100" cy="685800"/>
              </a:xfrm>
              <a:custGeom>
                <a:avLst/>
                <a:gdLst>
                  <a:gd name="connsiteX0" fmla="*/ 419100 w 419100"/>
                  <a:gd name="connsiteY0" fmla="*/ 571500 h 685800"/>
                  <a:gd name="connsiteX1" fmla="*/ 419100 w 419100"/>
                  <a:gd name="connsiteY1" fmla="*/ 495300 h 685800"/>
                  <a:gd name="connsiteX2" fmla="*/ 95250 w 419100"/>
                  <a:gd name="connsiteY2" fmla="*/ 495300 h 685800"/>
                  <a:gd name="connsiteX3" fmla="*/ 76200 w 419100"/>
                  <a:gd name="connsiteY3" fmla="*/ 476250 h 685800"/>
                  <a:gd name="connsiteX4" fmla="*/ 76200 w 419100"/>
                  <a:gd name="connsiteY4" fmla="*/ 285750 h 685800"/>
                  <a:gd name="connsiteX5" fmla="*/ 95250 w 419100"/>
                  <a:gd name="connsiteY5" fmla="*/ 266700 h 685800"/>
                  <a:gd name="connsiteX6" fmla="*/ 419100 w 419100"/>
                  <a:gd name="connsiteY6" fmla="*/ 266700 h 685800"/>
                  <a:gd name="connsiteX7" fmla="*/ 419100 w 419100"/>
                  <a:gd name="connsiteY7" fmla="*/ 190500 h 685800"/>
                  <a:gd name="connsiteX8" fmla="*/ 381000 w 419100"/>
                  <a:gd name="connsiteY8" fmla="*/ 152400 h 685800"/>
                  <a:gd name="connsiteX9" fmla="*/ 347663 w 419100"/>
                  <a:gd name="connsiteY9" fmla="*/ 152400 h 685800"/>
                  <a:gd name="connsiteX10" fmla="*/ 342900 w 419100"/>
                  <a:gd name="connsiteY10" fmla="*/ 147638 h 685800"/>
                  <a:gd name="connsiteX11" fmla="*/ 342900 w 419100"/>
                  <a:gd name="connsiteY11" fmla="*/ 119063 h 685800"/>
                  <a:gd name="connsiteX12" fmla="*/ 347663 w 419100"/>
                  <a:gd name="connsiteY12" fmla="*/ 114300 h 685800"/>
                  <a:gd name="connsiteX13" fmla="*/ 371475 w 419100"/>
                  <a:gd name="connsiteY13" fmla="*/ 114300 h 685800"/>
                  <a:gd name="connsiteX14" fmla="*/ 381000 w 419100"/>
                  <a:gd name="connsiteY14" fmla="*/ 104775 h 685800"/>
                  <a:gd name="connsiteX15" fmla="*/ 381000 w 419100"/>
                  <a:gd name="connsiteY15" fmla="*/ 38100 h 685800"/>
                  <a:gd name="connsiteX16" fmla="*/ 342900 w 419100"/>
                  <a:gd name="connsiteY16" fmla="*/ 0 h 685800"/>
                  <a:gd name="connsiteX17" fmla="*/ 76200 w 419100"/>
                  <a:gd name="connsiteY17" fmla="*/ 0 h 685800"/>
                  <a:gd name="connsiteX18" fmla="*/ 38100 w 419100"/>
                  <a:gd name="connsiteY18" fmla="*/ 38100 h 685800"/>
                  <a:gd name="connsiteX19" fmla="*/ 38100 w 419100"/>
                  <a:gd name="connsiteY19" fmla="*/ 104775 h 685800"/>
                  <a:gd name="connsiteX20" fmla="*/ 47625 w 419100"/>
                  <a:gd name="connsiteY20" fmla="*/ 114300 h 685800"/>
                  <a:gd name="connsiteX21" fmla="*/ 71438 w 419100"/>
                  <a:gd name="connsiteY21" fmla="*/ 114300 h 685800"/>
                  <a:gd name="connsiteX22" fmla="*/ 76200 w 419100"/>
                  <a:gd name="connsiteY22" fmla="*/ 119063 h 685800"/>
                  <a:gd name="connsiteX23" fmla="*/ 76200 w 419100"/>
                  <a:gd name="connsiteY23" fmla="*/ 147638 h 685800"/>
                  <a:gd name="connsiteX24" fmla="*/ 71438 w 419100"/>
                  <a:gd name="connsiteY24" fmla="*/ 152400 h 685800"/>
                  <a:gd name="connsiteX25" fmla="*/ 38100 w 419100"/>
                  <a:gd name="connsiteY25" fmla="*/ 152400 h 685800"/>
                  <a:gd name="connsiteX26" fmla="*/ 0 w 419100"/>
                  <a:gd name="connsiteY26" fmla="*/ 190500 h 685800"/>
                  <a:gd name="connsiteX27" fmla="*/ 0 w 419100"/>
                  <a:gd name="connsiteY27" fmla="*/ 647700 h 685800"/>
                  <a:gd name="connsiteX28" fmla="*/ 38100 w 419100"/>
                  <a:gd name="connsiteY28" fmla="*/ 685800 h 685800"/>
                  <a:gd name="connsiteX29" fmla="*/ 171450 w 419100"/>
                  <a:gd name="connsiteY29" fmla="*/ 685800 h 685800"/>
                  <a:gd name="connsiteX30" fmla="*/ 285750 w 419100"/>
                  <a:gd name="connsiteY30" fmla="*/ 571500 h 685800"/>
                  <a:gd name="connsiteX31" fmla="*/ 419100 w 419100"/>
                  <a:gd name="connsiteY31" fmla="*/ 571500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19100" h="685800">
                    <a:moveTo>
                      <a:pt x="419100" y="571500"/>
                    </a:moveTo>
                    <a:lnTo>
                      <a:pt x="419100" y="495300"/>
                    </a:lnTo>
                    <a:lnTo>
                      <a:pt x="95250" y="495300"/>
                    </a:lnTo>
                    <a:cubicBezTo>
                      <a:pt x="84773" y="495300"/>
                      <a:pt x="76200" y="486728"/>
                      <a:pt x="76200" y="476250"/>
                    </a:cubicBezTo>
                    <a:lnTo>
                      <a:pt x="76200" y="285750"/>
                    </a:lnTo>
                    <a:cubicBezTo>
                      <a:pt x="76200" y="275273"/>
                      <a:pt x="84773" y="266700"/>
                      <a:pt x="95250" y="266700"/>
                    </a:cubicBezTo>
                    <a:lnTo>
                      <a:pt x="419100" y="266700"/>
                    </a:lnTo>
                    <a:lnTo>
                      <a:pt x="419100" y="190500"/>
                    </a:lnTo>
                    <a:cubicBezTo>
                      <a:pt x="419100" y="169545"/>
                      <a:pt x="401955" y="152400"/>
                      <a:pt x="381000" y="152400"/>
                    </a:cubicBezTo>
                    <a:lnTo>
                      <a:pt x="347663" y="152400"/>
                    </a:lnTo>
                    <a:cubicBezTo>
                      <a:pt x="344805" y="152400"/>
                      <a:pt x="342900" y="150495"/>
                      <a:pt x="342900" y="147638"/>
                    </a:cubicBezTo>
                    <a:lnTo>
                      <a:pt x="342900" y="119063"/>
                    </a:lnTo>
                    <a:cubicBezTo>
                      <a:pt x="342900" y="116205"/>
                      <a:pt x="344805" y="114300"/>
                      <a:pt x="347663" y="114300"/>
                    </a:cubicBezTo>
                    <a:lnTo>
                      <a:pt x="371475" y="114300"/>
                    </a:lnTo>
                    <a:cubicBezTo>
                      <a:pt x="377190" y="114300"/>
                      <a:pt x="381000" y="110490"/>
                      <a:pt x="381000" y="104775"/>
                    </a:cubicBezTo>
                    <a:lnTo>
                      <a:pt x="381000" y="38100"/>
                    </a:lnTo>
                    <a:cubicBezTo>
                      <a:pt x="381000" y="17145"/>
                      <a:pt x="363855" y="0"/>
                      <a:pt x="342900" y="0"/>
                    </a:cubicBezTo>
                    <a:lnTo>
                      <a:pt x="76200" y="0"/>
                    </a:lnTo>
                    <a:cubicBezTo>
                      <a:pt x="55245" y="0"/>
                      <a:pt x="38100" y="17145"/>
                      <a:pt x="38100" y="38100"/>
                    </a:cubicBezTo>
                    <a:lnTo>
                      <a:pt x="38100" y="104775"/>
                    </a:lnTo>
                    <a:cubicBezTo>
                      <a:pt x="38100" y="110490"/>
                      <a:pt x="41910" y="114300"/>
                      <a:pt x="47625" y="114300"/>
                    </a:cubicBezTo>
                    <a:lnTo>
                      <a:pt x="71438" y="114300"/>
                    </a:lnTo>
                    <a:cubicBezTo>
                      <a:pt x="74295" y="114300"/>
                      <a:pt x="76200" y="116205"/>
                      <a:pt x="76200" y="119063"/>
                    </a:cubicBezTo>
                    <a:lnTo>
                      <a:pt x="76200" y="147638"/>
                    </a:lnTo>
                    <a:cubicBezTo>
                      <a:pt x="76200" y="150495"/>
                      <a:pt x="74295" y="152400"/>
                      <a:pt x="71438" y="152400"/>
                    </a:cubicBezTo>
                    <a:lnTo>
                      <a:pt x="38100" y="152400"/>
                    </a:lnTo>
                    <a:cubicBezTo>
                      <a:pt x="17145" y="152400"/>
                      <a:pt x="0" y="169545"/>
                      <a:pt x="0" y="190500"/>
                    </a:cubicBezTo>
                    <a:lnTo>
                      <a:pt x="0" y="647700"/>
                    </a:lnTo>
                    <a:cubicBezTo>
                      <a:pt x="0" y="668655"/>
                      <a:pt x="17145" y="685800"/>
                      <a:pt x="38100" y="685800"/>
                    </a:cubicBezTo>
                    <a:lnTo>
                      <a:pt x="171450" y="685800"/>
                    </a:lnTo>
                    <a:cubicBezTo>
                      <a:pt x="171450" y="622935"/>
                      <a:pt x="222885" y="571500"/>
                      <a:pt x="285750" y="571500"/>
                    </a:cubicBezTo>
                    <a:lnTo>
                      <a:pt x="419100" y="5715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  <p:sp>
            <p:nvSpPr>
              <p:cNvPr id="21" name="Freeform: Shape 33">
                <a:extLst>
                  <a:ext uri="{FF2B5EF4-FFF2-40B4-BE49-F238E27FC236}">
                    <a16:creationId xmlns:a16="http://schemas.microsoft.com/office/drawing/2014/main" id="{49F8ABC8-165F-0975-1B30-587358AB49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28481" y="2227333"/>
                <a:ext cx="304800" cy="152401"/>
              </a:xfrm>
              <a:custGeom>
                <a:avLst/>
                <a:gdLst>
                  <a:gd name="connsiteX0" fmla="*/ 0 w 304800"/>
                  <a:gd name="connsiteY0" fmla="*/ 9525 h 152400"/>
                  <a:gd name="connsiteX1" fmla="*/ 0 w 304800"/>
                  <a:gd name="connsiteY1" fmla="*/ 142875 h 152400"/>
                  <a:gd name="connsiteX2" fmla="*/ 9525 w 304800"/>
                  <a:gd name="connsiteY2" fmla="*/ 152400 h 152400"/>
                  <a:gd name="connsiteX3" fmla="*/ 304800 w 304800"/>
                  <a:gd name="connsiteY3" fmla="*/ 152400 h 152400"/>
                  <a:gd name="connsiteX4" fmla="*/ 304800 w 304800"/>
                  <a:gd name="connsiteY4" fmla="*/ 0 h 152400"/>
                  <a:gd name="connsiteX5" fmla="*/ 9525 w 304800"/>
                  <a:gd name="connsiteY5" fmla="*/ 0 h 152400"/>
                  <a:gd name="connsiteX6" fmla="*/ 0 w 304800"/>
                  <a:gd name="connsiteY6" fmla="*/ 952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0" y="9525"/>
                    </a:moveTo>
                    <a:lnTo>
                      <a:pt x="0" y="142875"/>
                    </a:lnTo>
                    <a:cubicBezTo>
                      <a:pt x="0" y="148590"/>
                      <a:pt x="3810" y="152400"/>
                      <a:pt x="9525" y="152400"/>
                    </a:cubicBezTo>
                    <a:lnTo>
                      <a:pt x="304800" y="152400"/>
                    </a:lnTo>
                    <a:lnTo>
                      <a:pt x="304800" y="0"/>
                    </a:ln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  <p:sp>
            <p:nvSpPr>
              <p:cNvPr id="22" name="Freeform: Shape 34">
                <a:extLst>
                  <a:ext uri="{FF2B5EF4-FFF2-40B4-BE49-F238E27FC236}">
                    <a16:creationId xmlns:a16="http://schemas.microsoft.com/office/drawing/2014/main" id="{A397C409-D8E8-4392-0D16-A591603408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923731" y="2532133"/>
                <a:ext cx="323850" cy="152400"/>
              </a:xfrm>
              <a:custGeom>
                <a:avLst/>
                <a:gdLst>
                  <a:gd name="connsiteX0" fmla="*/ 161925 w 323850"/>
                  <a:gd name="connsiteY0" fmla="*/ 114300 h 152400"/>
                  <a:gd name="connsiteX1" fmla="*/ 76200 w 323850"/>
                  <a:gd name="connsiteY1" fmla="*/ 114300 h 152400"/>
                  <a:gd name="connsiteX2" fmla="*/ 38100 w 323850"/>
                  <a:gd name="connsiteY2" fmla="*/ 76200 h 152400"/>
                  <a:gd name="connsiteX3" fmla="*/ 76200 w 323850"/>
                  <a:gd name="connsiteY3" fmla="*/ 38100 h 152400"/>
                  <a:gd name="connsiteX4" fmla="*/ 161925 w 323850"/>
                  <a:gd name="connsiteY4" fmla="*/ 38100 h 152400"/>
                  <a:gd name="connsiteX5" fmla="*/ 161925 w 323850"/>
                  <a:gd name="connsiteY5" fmla="*/ 114300 h 152400"/>
                  <a:gd name="connsiteX6" fmla="*/ 247650 w 323850"/>
                  <a:gd name="connsiteY6" fmla="*/ 0 h 152400"/>
                  <a:gd name="connsiteX7" fmla="*/ 76200 w 323850"/>
                  <a:gd name="connsiteY7" fmla="*/ 0 h 152400"/>
                  <a:gd name="connsiteX8" fmla="*/ 0 w 323850"/>
                  <a:gd name="connsiteY8" fmla="*/ 76200 h 152400"/>
                  <a:gd name="connsiteX9" fmla="*/ 76200 w 323850"/>
                  <a:gd name="connsiteY9" fmla="*/ 152400 h 152400"/>
                  <a:gd name="connsiteX10" fmla="*/ 247650 w 323850"/>
                  <a:gd name="connsiteY10" fmla="*/ 152400 h 152400"/>
                  <a:gd name="connsiteX11" fmla="*/ 323850 w 323850"/>
                  <a:gd name="connsiteY11" fmla="*/ 76200 h 152400"/>
                  <a:gd name="connsiteX12" fmla="*/ 247650 w 323850"/>
                  <a:gd name="connsiteY1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850" h="152400">
                    <a:moveTo>
                      <a:pt x="161925" y="114300"/>
                    </a:moveTo>
                    <a:lnTo>
                      <a:pt x="76200" y="114300"/>
                    </a:lnTo>
                    <a:cubicBezTo>
                      <a:pt x="55245" y="114300"/>
                      <a:pt x="38100" y="97155"/>
                      <a:pt x="38100" y="76200"/>
                    </a:cubicBezTo>
                    <a:cubicBezTo>
                      <a:pt x="38100" y="55245"/>
                      <a:pt x="55245" y="38100"/>
                      <a:pt x="76200" y="38100"/>
                    </a:cubicBezTo>
                    <a:lnTo>
                      <a:pt x="161925" y="38100"/>
                    </a:lnTo>
                    <a:lnTo>
                      <a:pt x="161925" y="114300"/>
                    </a:lnTo>
                    <a:close/>
                    <a:moveTo>
                      <a:pt x="247650" y="0"/>
                    </a:moveTo>
                    <a:lnTo>
                      <a:pt x="76200" y="0"/>
                    </a:lnTo>
                    <a:cubicBezTo>
                      <a:pt x="34290" y="0"/>
                      <a:pt x="0" y="34290"/>
                      <a:pt x="0" y="76200"/>
                    </a:cubicBezTo>
                    <a:cubicBezTo>
                      <a:pt x="0" y="118110"/>
                      <a:pt x="34290" y="152400"/>
                      <a:pt x="76200" y="152400"/>
                    </a:cubicBezTo>
                    <a:lnTo>
                      <a:pt x="247650" y="152400"/>
                    </a:lnTo>
                    <a:cubicBezTo>
                      <a:pt x="289560" y="152400"/>
                      <a:pt x="323850" y="118110"/>
                      <a:pt x="323850" y="76200"/>
                    </a:cubicBezTo>
                    <a:cubicBezTo>
                      <a:pt x="323850" y="34290"/>
                      <a:pt x="289560" y="0"/>
                      <a:pt x="24765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A5CE320-1F98-11CC-B0F3-68892A0A5F4C}"/>
                </a:ext>
              </a:extLst>
            </p:cNvPr>
            <p:cNvSpPr txBox="1">
              <a:spLocks/>
            </p:cNvSpPr>
            <p:nvPr/>
          </p:nvSpPr>
          <p:spPr>
            <a:xfrm>
              <a:off x="2624610" y="5445537"/>
              <a:ext cx="1437158" cy="41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On ART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1A4F1D-FAB7-7F2C-DF5D-13A44F4E1B2C}"/>
              </a:ext>
            </a:extLst>
          </p:cNvPr>
          <p:cNvGrpSpPr>
            <a:grpSpLocks/>
          </p:cNvGrpSpPr>
          <p:nvPr/>
        </p:nvGrpSpPr>
        <p:grpSpPr>
          <a:xfrm>
            <a:off x="10013802" y="2504468"/>
            <a:ext cx="1452336" cy="1418129"/>
            <a:chOff x="4210328" y="4606178"/>
            <a:chExt cx="1958679" cy="1912546"/>
          </a:xfrm>
        </p:grpSpPr>
        <p:pic>
          <p:nvPicPr>
            <p:cNvPr id="24" name="Graphic 15">
              <a:extLst>
                <a:ext uri="{FF2B5EF4-FFF2-40B4-BE49-F238E27FC236}">
                  <a16:creationId xmlns:a16="http://schemas.microsoft.com/office/drawing/2014/main" id="{E408F9CB-901C-1675-77F0-DFBF46254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732468" y="4606178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6822736-EB9E-5E7A-B3E5-07370E54251C}"/>
                </a:ext>
              </a:extLst>
            </p:cNvPr>
            <p:cNvSpPr txBox="1">
              <a:spLocks/>
            </p:cNvSpPr>
            <p:nvPr/>
          </p:nvSpPr>
          <p:spPr>
            <a:xfrm>
              <a:off x="4210328" y="5522532"/>
              <a:ext cx="1958679" cy="996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BMI 25+ &amp; </a:t>
              </a:r>
            </a:p>
            <a:p>
              <a:pPr algn="ctr"/>
              <a:r>
                <a:rPr lang="en-US" sz="1400" dirty="0"/>
                <a:t>high waist circumferenc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B8AB5FA-9BE8-5B3E-05E1-75EAEB35BD5B}"/>
              </a:ext>
            </a:extLst>
          </p:cNvPr>
          <p:cNvGrpSpPr>
            <a:grpSpLocks/>
          </p:cNvGrpSpPr>
          <p:nvPr/>
        </p:nvGrpSpPr>
        <p:grpSpPr>
          <a:xfrm>
            <a:off x="6529791" y="2556278"/>
            <a:ext cx="823136" cy="987242"/>
            <a:chOff x="382447" y="4606178"/>
            <a:chExt cx="1110114" cy="1331435"/>
          </a:xfrm>
        </p:grpSpPr>
        <p:pic>
          <p:nvPicPr>
            <p:cNvPr id="27" name="Picture 26" descr="A black and white logo&#10;&#10;Description automatically generated">
              <a:extLst>
                <a:ext uri="{FF2B5EF4-FFF2-40B4-BE49-F238E27FC236}">
                  <a16:creationId xmlns:a16="http://schemas.microsoft.com/office/drawing/2014/main" id="{CC9E846D-B3FA-14BB-03CF-6C718CEF9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0933" y="4606178"/>
              <a:ext cx="913142" cy="913142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4712471-DB9A-6829-E7AC-057D74ADEC4A}"/>
                </a:ext>
              </a:extLst>
            </p:cNvPr>
            <p:cNvSpPr txBox="1">
              <a:spLocks/>
            </p:cNvSpPr>
            <p:nvPr/>
          </p:nvSpPr>
          <p:spPr>
            <a:xfrm>
              <a:off x="382447" y="5522532"/>
              <a:ext cx="1110114" cy="41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cs typeface="Calibri" panose="020F0502020204030204" pitchFamily="34" charset="0"/>
                </a:rPr>
                <a:t>PWH</a:t>
              </a:r>
              <a:endParaRPr lang="en-US" sz="1400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A46A0FC-C783-8BDF-2E9F-B1E4F19F1206}"/>
              </a:ext>
            </a:extLst>
          </p:cNvPr>
          <p:cNvSpPr txBox="1">
            <a:spLocks/>
          </p:cNvSpPr>
          <p:nvPr/>
        </p:nvSpPr>
        <p:spPr>
          <a:xfrm>
            <a:off x="7376567" y="1893672"/>
            <a:ext cx="3175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clusion Criteri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13C3CB-12E7-6B33-81A3-3BE62B10C7C9}"/>
              </a:ext>
            </a:extLst>
          </p:cNvPr>
          <p:cNvSpPr/>
          <p:nvPr/>
        </p:nvSpPr>
        <p:spPr>
          <a:xfrm>
            <a:off x="683670" y="2078338"/>
            <a:ext cx="505829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 err="1">
                <a:latin typeface="+mj-lt"/>
              </a:rPr>
              <a:t>Randomised</a:t>
            </a:r>
            <a:r>
              <a:rPr lang="en-US" sz="2200" dirty="0">
                <a:latin typeface="+mj-lt"/>
              </a:rPr>
              <a:t>, double-blind, placebo-controlled phase 2b clinical tria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j-lt"/>
              </a:rPr>
              <a:t>Single-site, n=108 people</a:t>
            </a:r>
          </a:p>
          <a:p>
            <a:endParaRPr lang="en-US" sz="2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 err="1">
                <a:latin typeface="+mj-lt"/>
              </a:rPr>
              <a:t>Semaglutide</a:t>
            </a:r>
            <a:r>
              <a:rPr lang="en-US" sz="2200" dirty="0">
                <a:latin typeface="+mj-lt"/>
              </a:rPr>
              <a:t> 1.0 mg weekly X 32 week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C38763-2E49-5908-43FD-0BF017AC1093}"/>
              </a:ext>
            </a:extLst>
          </p:cNvPr>
          <p:cNvSpPr txBox="1">
            <a:spLocks/>
          </p:cNvSpPr>
          <p:nvPr/>
        </p:nvSpPr>
        <p:spPr>
          <a:xfrm>
            <a:off x="6820026" y="4145135"/>
            <a:ext cx="43703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People with known diabetes exclude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3FBE55-709F-B4AB-B172-C9E4D5555C56}"/>
              </a:ext>
            </a:extLst>
          </p:cNvPr>
          <p:cNvSpPr txBox="1"/>
          <p:nvPr/>
        </p:nvSpPr>
        <p:spPr>
          <a:xfrm>
            <a:off x="118635" y="6520121"/>
            <a:ext cx="49265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Eckard et al, 2024 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318030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249177F-A06A-45FB-B00F-00720EA19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76F1A-996E-49D1-B112-57A6E7164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4C3B4B-612F-41A6-81E2-EF54C8107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3A97A-037A-4CD4-96C9-9571CA29B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6981C4-F4F6-48AB-9F5D-6982D7BCA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>
                <a:solidFill>
                  <a:srgbClr val="FFFEFF"/>
                </a:solidFill>
              </a:rPr>
              <a:t>Overview</a:t>
            </a:r>
          </a:p>
        </p:txBody>
      </p:sp>
      <p:graphicFrame>
        <p:nvGraphicFramePr>
          <p:cNvPr id="5" name="Content Placeholder 8" descr="Smart Art Icons">
            <a:extLst>
              <a:ext uri="{FF2B5EF4-FFF2-40B4-BE49-F238E27FC236}">
                <a16:creationId xmlns:a16="http://schemas.microsoft.com/office/drawing/2014/main" id="{409EA5C3-960F-45C5-9752-3E99B4E04D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7187947"/>
              </p:ext>
            </p:extLst>
          </p:nvPr>
        </p:nvGraphicFramePr>
        <p:xfrm>
          <a:off x="581025" y="2181225"/>
          <a:ext cx="11029950" cy="3678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69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5D6C04-4231-97BA-A2CB-18B999E24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Semaglutide</a:t>
            </a:r>
            <a:r>
              <a:rPr lang="en-US" dirty="0"/>
              <a:t> effects in </a:t>
            </a:r>
            <a:r>
              <a:rPr lang="en-US" dirty="0" err="1"/>
              <a:t>hiv</a:t>
            </a:r>
            <a:r>
              <a:rPr lang="en-US" dirty="0"/>
              <a:t>-associated </a:t>
            </a:r>
            <a:r>
              <a:rPr lang="en-US" dirty="0" err="1"/>
              <a:t>lipohypertrophy</a:t>
            </a:r>
            <a:endParaRPr lang="en-US" dirty="0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87D8903F-B6C7-9CBA-0044-6CC411A83970}"/>
              </a:ext>
            </a:extLst>
          </p:cNvPr>
          <p:cNvSpPr txBox="1">
            <a:spLocks/>
          </p:cNvSpPr>
          <p:nvPr/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AB7F91-5FD2-C481-14D1-41AB394DCAC1}"/>
              </a:ext>
            </a:extLst>
          </p:cNvPr>
          <p:cNvSpPr txBox="1"/>
          <p:nvPr/>
        </p:nvSpPr>
        <p:spPr>
          <a:xfrm>
            <a:off x="118635" y="6520121"/>
            <a:ext cx="49265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 err="1"/>
              <a:t>Eckard</a:t>
            </a:r>
            <a:r>
              <a:rPr lang="en-US" sz="1000" dirty="0"/>
              <a:t> et al 2024</a:t>
            </a:r>
            <a:endParaRPr lang="en-US" sz="1000" i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041706-0DD9-835E-6515-2B4264A0F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976" y="2090224"/>
            <a:ext cx="4515323" cy="30794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17A7205-7AFE-B5DA-907C-80BB8CFEB434}"/>
              </a:ext>
            </a:extLst>
          </p:cNvPr>
          <p:cNvSpPr txBox="1"/>
          <p:nvPr/>
        </p:nvSpPr>
        <p:spPr>
          <a:xfrm>
            <a:off x="684976" y="5302901"/>
            <a:ext cx="4431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Weight decreased 8.3% [v. 0.2%]</a:t>
            </a:r>
          </a:p>
          <a:p>
            <a:pPr algn="ctr"/>
            <a:r>
              <a:rPr lang="en-US" sz="2000" b="1" dirty="0"/>
              <a:t>65% on semaglutide lost ≥5% [v. 4%]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56DEB1-6760-1E16-C121-0579D9F00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7951" y="2090223"/>
            <a:ext cx="4795141" cy="31082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812F2DA-245C-FEF3-CA34-41C651043EC3}"/>
              </a:ext>
            </a:extLst>
          </p:cNvPr>
          <p:cNvSpPr txBox="1"/>
          <p:nvPr/>
        </p:nvSpPr>
        <p:spPr>
          <a:xfrm>
            <a:off x="6786670" y="5309806"/>
            <a:ext cx="42222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Visceral Adipose Tissue decreased 8.3% [v. increasing 0.2%]</a:t>
            </a:r>
          </a:p>
        </p:txBody>
      </p:sp>
    </p:spTree>
    <p:extLst>
      <p:ext uri="{BB962C8B-B14F-4D97-AF65-F5344CB8AC3E}">
        <p14:creationId xmlns:p14="http://schemas.microsoft.com/office/powerpoint/2010/main" val="4077007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5D6C04-4231-97BA-A2CB-18B999E24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Semaglutide</a:t>
            </a:r>
            <a:r>
              <a:rPr lang="en-US" dirty="0"/>
              <a:t> effects in </a:t>
            </a:r>
            <a:r>
              <a:rPr lang="en-US" dirty="0" err="1"/>
              <a:t>hiv</a:t>
            </a:r>
            <a:r>
              <a:rPr lang="en-US" dirty="0"/>
              <a:t>-associated </a:t>
            </a:r>
            <a:r>
              <a:rPr lang="en-US" dirty="0" err="1"/>
              <a:t>lipohypertrophy</a:t>
            </a:r>
            <a:endParaRPr lang="en-US" dirty="0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87D8903F-B6C7-9CBA-0044-6CC411A83970}"/>
              </a:ext>
            </a:extLst>
          </p:cNvPr>
          <p:cNvSpPr txBox="1">
            <a:spLocks/>
          </p:cNvSpPr>
          <p:nvPr/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AB7F91-5FD2-C481-14D1-41AB394DCAC1}"/>
              </a:ext>
            </a:extLst>
          </p:cNvPr>
          <p:cNvSpPr txBox="1"/>
          <p:nvPr/>
        </p:nvSpPr>
        <p:spPr>
          <a:xfrm>
            <a:off x="118635" y="6520121"/>
            <a:ext cx="49265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 err="1"/>
              <a:t>Eckard</a:t>
            </a:r>
            <a:r>
              <a:rPr lang="en-US" sz="1000" dirty="0"/>
              <a:t> et al 2024</a:t>
            </a:r>
            <a:endParaRPr lang="en-US" sz="1000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9BD764-16AC-4A40-CA75-B4FA4EB3388B}"/>
              </a:ext>
            </a:extLst>
          </p:cNvPr>
          <p:cNvSpPr txBox="1"/>
          <p:nvPr/>
        </p:nvSpPr>
        <p:spPr>
          <a:xfrm>
            <a:off x="1480052" y="5307508"/>
            <a:ext cx="36193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Lean muscle mass decreased 5.4% [v. 0.6%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189FAD-882B-645A-477E-C7CC7A1B825A}"/>
              </a:ext>
            </a:extLst>
          </p:cNvPr>
          <p:cNvSpPr txBox="1"/>
          <p:nvPr/>
        </p:nvSpPr>
        <p:spPr>
          <a:xfrm>
            <a:off x="6816407" y="5307508"/>
            <a:ext cx="42222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Subcutaneous adipose tissue decreased 13% [v. increasing 1.5%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806719-22D9-EB81-A985-5CC6896210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802" y="2106722"/>
            <a:ext cx="4430520" cy="31071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BF76E54-2F4E-0035-6BE9-A047FB2F0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0354" y="2149280"/>
            <a:ext cx="4646844" cy="3107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89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019C98-2273-06D0-6A05-8D2D1DC9F9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64C5564-6D11-E42F-95D2-AA0664117A66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WHO recommendations released for public comment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33DFEB1-0990-C74E-4005-71428A6C7D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648" y="1339769"/>
            <a:ext cx="10922242" cy="31829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D7459D-847F-E32E-721B-E25258F254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927" y="4906955"/>
            <a:ext cx="10632146" cy="12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0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6CC96B-4ED0-962C-4B59-9CB84A995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A81A510-9A93-9FFE-2D7D-0194C71A5B8B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WHO recommendations released for public comment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61F834-9EE3-A901-8970-2DF8B6173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857" y="1276036"/>
            <a:ext cx="9790286" cy="55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90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A013EBD-C31E-F796-415B-586064E8D874}"/>
              </a:ext>
            </a:extLst>
          </p:cNvPr>
          <p:cNvSpPr txBox="1"/>
          <p:nvPr/>
        </p:nvSpPr>
        <p:spPr>
          <a:xfrm>
            <a:off x="487175" y="639981"/>
            <a:ext cx="999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2495D3"/>
                </a:solidFill>
                <a:latin typeface="Bahnschrift" panose="020B0502040204020203" pitchFamily="34" charset="0"/>
              </a:rPr>
              <a:t>Side effects of GLP-1 RA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D41159A-E5BE-AC2F-F2B1-4A463F3F75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2249"/>
          <a:stretch>
            <a:fillRect/>
          </a:stretch>
        </p:blipFill>
        <p:spPr>
          <a:xfrm>
            <a:off x="2404536" y="1796987"/>
            <a:ext cx="1581560" cy="41591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2602C3-49A9-5AE6-62EA-08782D40279E}"/>
              </a:ext>
            </a:extLst>
          </p:cNvPr>
          <p:cNvSpPr txBox="1"/>
          <p:nvPr/>
        </p:nvSpPr>
        <p:spPr>
          <a:xfrm>
            <a:off x="733808" y="1873723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>
                <a:latin typeface="Bahnschrift" panose="020B0502040204020203" pitchFamily="34" charset="0"/>
              </a:rPr>
              <a:t>Acute Kidney Inju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02578B-2E22-3A84-9E46-CEE5E31AC45F}"/>
              </a:ext>
            </a:extLst>
          </p:cNvPr>
          <p:cNvSpPr txBox="1"/>
          <p:nvPr/>
        </p:nvSpPr>
        <p:spPr>
          <a:xfrm>
            <a:off x="684835" y="3649438"/>
            <a:ext cx="17893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>
                <a:latin typeface="Bahnschrift" panose="020B0502040204020203" pitchFamily="34" charset="0"/>
              </a:rPr>
              <a:t>Gallbladder Disea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892C18-9B71-862C-C774-ACA3CFFCA8D9}"/>
              </a:ext>
            </a:extLst>
          </p:cNvPr>
          <p:cNvSpPr txBox="1"/>
          <p:nvPr/>
        </p:nvSpPr>
        <p:spPr>
          <a:xfrm>
            <a:off x="3896108" y="1873723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latin typeface="Bahnschrift" panose="020B0502040204020203" pitchFamily="34" charset="0"/>
              </a:rPr>
              <a:t>Thyroid Canc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0EB3FE-2BF1-D0EA-D9C3-9E1F56114F2A}"/>
              </a:ext>
            </a:extLst>
          </p:cNvPr>
          <p:cNvSpPr txBox="1"/>
          <p:nvPr/>
        </p:nvSpPr>
        <p:spPr>
          <a:xfrm>
            <a:off x="3896108" y="3266817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latin typeface="Bahnschrift" panose="020B0502040204020203" pitchFamily="34" charset="0"/>
              </a:rPr>
              <a:t>Pancreatit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F188EA-1071-F37C-CB53-E2C87AD4297D}"/>
              </a:ext>
            </a:extLst>
          </p:cNvPr>
          <p:cNvSpPr txBox="1"/>
          <p:nvPr/>
        </p:nvSpPr>
        <p:spPr>
          <a:xfrm>
            <a:off x="3951525" y="4719071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latin typeface="Bahnschrift" panose="020B0502040204020203" pitchFamily="34" charset="0"/>
              </a:rPr>
              <a:t>Allergic Reaction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EC70170-0194-E787-BC12-4FA9CCDED7C9}"/>
              </a:ext>
            </a:extLst>
          </p:cNvPr>
          <p:cNvCxnSpPr>
            <a:stCxn id="13" idx="6"/>
          </p:cNvCxnSpPr>
          <p:nvPr/>
        </p:nvCxnSpPr>
        <p:spPr>
          <a:xfrm>
            <a:off x="1940912" y="2658905"/>
            <a:ext cx="1126138" cy="1522422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052661-3276-C334-3878-94BD3FDFBF0B}"/>
              </a:ext>
            </a:extLst>
          </p:cNvPr>
          <p:cNvGrpSpPr/>
          <p:nvPr/>
        </p:nvGrpSpPr>
        <p:grpSpPr>
          <a:xfrm>
            <a:off x="1103536" y="2240217"/>
            <a:ext cx="837376" cy="837376"/>
            <a:chOff x="1314450" y="2162175"/>
            <a:chExt cx="1009650" cy="1009650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EFC0BE9-1ADC-0FA2-BF22-948606B0B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30706" y="2300647"/>
              <a:ext cx="626987" cy="698500"/>
            </a:xfrm>
            <a:prstGeom prst="rect">
              <a:avLst/>
            </a:prstGeom>
          </p:spPr>
        </p:pic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32C40F3-A6B7-D282-071A-47A6882B0DC1}"/>
                </a:ext>
              </a:extLst>
            </p:cNvPr>
            <p:cNvSpPr/>
            <p:nvPr/>
          </p:nvSpPr>
          <p:spPr>
            <a:xfrm>
              <a:off x="1314450" y="2162175"/>
              <a:ext cx="1009650" cy="1009650"/>
            </a:xfrm>
            <a:prstGeom prst="ellipse">
              <a:avLst/>
            </a:prstGeom>
            <a:noFill/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EB737C6A-E4E8-9614-EEE5-2846036C0093}"/>
              </a:ext>
            </a:extLst>
          </p:cNvPr>
          <p:cNvSpPr/>
          <p:nvPr/>
        </p:nvSpPr>
        <p:spPr>
          <a:xfrm>
            <a:off x="3009900" y="4124177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D66CF2-3B0B-B56E-025F-C891368E442A}"/>
              </a:ext>
            </a:extLst>
          </p:cNvPr>
          <p:cNvCxnSpPr>
            <a:cxnSpLocks/>
          </p:cNvCxnSpPr>
          <p:nvPr/>
        </p:nvCxnSpPr>
        <p:spPr>
          <a:xfrm>
            <a:off x="1957154" y="4485827"/>
            <a:ext cx="1109896" cy="43233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4449D766-A636-620F-4657-13A50C5154FD}"/>
              </a:ext>
            </a:extLst>
          </p:cNvPr>
          <p:cNvSpPr/>
          <p:nvPr/>
        </p:nvSpPr>
        <p:spPr>
          <a:xfrm>
            <a:off x="3009900" y="4473948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FDA150-F1D5-3323-E77B-CE1C8E74AD5D}"/>
              </a:ext>
            </a:extLst>
          </p:cNvPr>
          <p:cNvGrpSpPr/>
          <p:nvPr/>
        </p:nvGrpSpPr>
        <p:grpSpPr>
          <a:xfrm>
            <a:off x="1103536" y="4035584"/>
            <a:ext cx="837376" cy="837376"/>
            <a:chOff x="1119880" y="3376638"/>
            <a:chExt cx="1009650" cy="1009650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03F82B7-24BF-5087-F9A5-126E1291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57108" y="3597326"/>
              <a:ext cx="441992" cy="568275"/>
            </a:xfrm>
            <a:prstGeom prst="rect">
              <a:avLst/>
            </a:prstGeom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15FDAA4-A8CE-79CF-5F5F-66C9E2F17BF9}"/>
                </a:ext>
              </a:extLst>
            </p:cNvPr>
            <p:cNvSpPr/>
            <p:nvPr/>
          </p:nvSpPr>
          <p:spPr>
            <a:xfrm>
              <a:off x="1119880" y="3376638"/>
              <a:ext cx="1009650" cy="1009650"/>
            </a:xfrm>
            <a:prstGeom prst="ellipse">
              <a:avLst/>
            </a:prstGeom>
            <a:noFill/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2E17BB8-B2CD-FB24-1888-7ECD04B38722}"/>
              </a:ext>
            </a:extLst>
          </p:cNvPr>
          <p:cNvCxnSpPr>
            <a:cxnSpLocks/>
            <a:endCxn id="23" idx="2"/>
          </p:cNvCxnSpPr>
          <p:nvPr/>
        </p:nvCxnSpPr>
        <p:spPr>
          <a:xfrm flipV="1">
            <a:off x="3205063" y="2658905"/>
            <a:ext cx="1123600" cy="24543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278603A-CB22-7073-BB87-4D374FDBD209}"/>
              </a:ext>
            </a:extLst>
          </p:cNvPr>
          <p:cNvGrpSpPr/>
          <p:nvPr/>
        </p:nvGrpSpPr>
        <p:grpSpPr>
          <a:xfrm>
            <a:off x="4328663" y="2240217"/>
            <a:ext cx="837376" cy="837376"/>
            <a:chOff x="3970104" y="1807890"/>
            <a:chExt cx="1009650" cy="1009650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5EAEE175-22BA-47DD-8A71-04C449FE1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flipH="1">
              <a:off x="4254033" y="1935462"/>
              <a:ext cx="441792" cy="730370"/>
            </a:xfrm>
            <a:prstGeom prst="rect">
              <a:avLst/>
            </a:prstGeom>
          </p:spPr>
        </p:pic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0C17023-289D-8DA0-A4EA-05336F9F530E}"/>
                </a:ext>
              </a:extLst>
            </p:cNvPr>
            <p:cNvSpPr/>
            <p:nvPr/>
          </p:nvSpPr>
          <p:spPr>
            <a:xfrm>
              <a:off x="3970104" y="1807890"/>
              <a:ext cx="1009650" cy="1009650"/>
            </a:xfrm>
            <a:prstGeom prst="ellipse">
              <a:avLst/>
            </a:prstGeom>
            <a:noFill/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A0A8B012-D34B-2588-314E-9AFA5A66823A}"/>
              </a:ext>
            </a:extLst>
          </p:cNvPr>
          <p:cNvSpPr/>
          <p:nvPr/>
        </p:nvSpPr>
        <p:spPr>
          <a:xfrm>
            <a:off x="3157384" y="2634590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00546F0-2C64-DAFC-BF43-5885666ACF4B}"/>
              </a:ext>
            </a:extLst>
          </p:cNvPr>
          <p:cNvCxnSpPr>
            <a:cxnSpLocks/>
          </p:cNvCxnSpPr>
          <p:nvPr/>
        </p:nvCxnSpPr>
        <p:spPr>
          <a:xfrm flipV="1">
            <a:off x="3333883" y="3982744"/>
            <a:ext cx="1017455" cy="198583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9032EA40-4D85-57E2-85F6-A17ADFF8C1C9}"/>
              </a:ext>
            </a:extLst>
          </p:cNvPr>
          <p:cNvSpPr/>
          <p:nvPr/>
        </p:nvSpPr>
        <p:spPr>
          <a:xfrm>
            <a:off x="3290708" y="4134735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CF553ED-EB1A-7F49-DDD8-3F4940BD9E86}"/>
              </a:ext>
            </a:extLst>
          </p:cNvPr>
          <p:cNvGrpSpPr/>
          <p:nvPr/>
        </p:nvGrpSpPr>
        <p:grpSpPr>
          <a:xfrm>
            <a:off x="4328663" y="3593668"/>
            <a:ext cx="837376" cy="837376"/>
            <a:chOff x="4397866" y="2941365"/>
            <a:chExt cx="1009650" cy="1009650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674EA79B-DB18-16A1-E1D0-DC8972BAD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608340" y="3246749"/>
              <a:ext cx="646470" cy="403175"/>
            </a:xfrm>
            <a:prstGeom prst="rect">
              <a:avLst/>
            </a:prstGeom>
          </p:spPr>
        </p:pic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3503C66-F166-55C9-B008-A2314CAD4C28}"/>
                </a:ext>
              </a:extLst>
            </p:cNvPr>
            <p:cNvSpPr/>
            <p:nvPr/>
          </p:nvSpPr>
          <p:spPr>
            <a:xfrm>
              <a:off x="4397866" y="2941365"/>
              <a:ext cx="1009650" cy="1009650"/>
            </a:xfrm>
            <a:prstGeom prst="ellipse">
              <a:avLst/>
            </a:prstGeom>
            <a:noFill/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B3BD741-FFDD-F8BD-E252-52730CE99657}"/>
              </a:ext>
            </a:extLst>
          </p:cNvPr>
          <p:cNvCxnSpPr>
            <a:cxnSpLocks/>
          </p:cNvCxnSpPr>
          <p:nvPr/>
        </p:nvCxnSpPr>
        <p:spPr>
          <a:xfrm>
            <a:off x="3481421" y="5107348"/>
            <a:ext cx="869917" cy="269118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07163948-3B71-5EEF-9889-A5450AA7B204}"/>
              </a:ext>
            </a:extLst>
          </p:cNvPr>
          <p:cNvSpPr/>
          <p:nvPr/>
        </p:nvSpPr>
        <p:spPr>
          <a:xfrm>
            <a:off x="3424271" y="5050198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8F852F9-CD81-798E-4BF2-A358ED5C1897}"/>
              </a:ext>
            </a:extLst>
          </p:cNvPr>
          <p:cNvCxnSpPr>
            <a:cxnSpLocks/>
          </p:cNvCxnSpPr>
          <p:nvPr/>
        </p:nvCxnSpPr>
        <p:spPr>
          <a:xfrm>
            <a:off x="3860447" y="4719071"/>
            <a:ext cx="468216" cy="605321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7501C7ED-0E7F-C76D-2181-BAC97A0ECCDC}"/>
              </a:ext>
            </a:extLst>
          </p:cNvPr>
          <p:cNvSpPr/>
          <p:nvPr/>
        </p:nvSpPr>
        <p:spPr>
          <a:xfrm>
            <a:off x="3806141" y="4688500"/>
            <a:ext cx="114300" cy="1143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A660E2E-8E9C-6928-0182-CE51C75E2B3E}"/>
              </a:ext>
            </a:extLst>
          </p:cNvPr>
          <p:cNvGrpSpPr/>
          <p:nvPr/>
        </p:nvGrpSpPr>
        <p:grpSpPr>
          <a:xfrm>
            <a:off x="4328663" y="5026848"/>
            <a:ext cx="837376" cy="837376"/>
            <a:chOff x="4334430" y="4398690"/>
            <a:chExt cx="1009650" cy="1009650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E8E19BB3-3F1A-E665-55E5-2913F2045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424869" y="4562475"/>
              <a:ext cx="771624" cy="635120"/>
            </a:xfrm>
            <a:prstGeom prst="rect">
              <a:avLst/>
            </a:prstGeom>
          </p:spPr>
        </p:pic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3E25AB6-9734-A5F9-9E2F-465D4CBCEAB4}"/>
                </a:ext>
              </a:extLst>
            </p:cNvPr>
            <p:cNvSpPr/>
            <p:nvPr/>
          </p:nvSpPr>
          <p:spPr>
            <a:xfrm>
              <a:off x="4334430" y="4398690"/>
              <a:ext cx="1009650" cy="1009650"/>
            </a:xfrm>
            <a:prstGeom prst="ellipse">
              <a:avLst/>
            </a:prstGeom>
            <a:noFill/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A527527F-E294-3553-5997-86D383EE79E1}"/>
              </a:ext>
            </a:extLst>
          </p:cNvPr>
          <p:cNvSpPr txBox="1"/>
          <p:nvPr/>
        </p:nvSpPr>
        <p:spPr>
          <a:xfrm>
            <a:off x="357008" y="5282281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Bahnschrift" panose="020B0502040204020203" pitchFamily="34" charset="0"/>
              </a:rPr>
              <a:t>Source: Manne-Goehler</a:t>
            </a:r>
          </a:p>
          <a:p>
            <a:r>
              <a:rPr lang="en-US" sz="1200" dirty="0">
                <a:latin typeface="Bahnschrift" panose="020B0502040204020203" pitchFamily="34" charset="0"/>
              </a:rPr>
              <a:t>and Franco, BMJ 2025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CB1FC38-3395-7793-797D-9FD73052E1E3}"/>
              </a:ext>
            </a:extLst>
          </p:cNvPr>
          <p:cNvGrpSpPr/>
          <p:nvPr/>
        </p:nvGrpSpPr>
        <p:grpSpPr>
          <a:xfrm>
            <a:off x="6795575" y="3786476"/>
            <a:ext cx="4858406" cy="2220541"/>
            <a:chOff x="6317505" y="1972311"/>
            <a:chExt cx="4858406" cy="2220541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1EDCD2F1-1D09-0A5A-4014-8E4155AE1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t="31250" r="42781" b="61316"/>
            <a:stretch>
              <a:fillRect/>
            </a:stretch>
          </p:blipFill>
          <p:spPr>
            <a:xfrm>
              <a:off x="6317505" y="1972311"/>
              <a:ext cx="4858406" cy="370839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BF90AFC-E31A-4C3E-AFA3-2971E6BE9F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t="44669" r="42781" b="17399"/>
            <a:stretch>
              <a:fillRect/>
            </a:stretch>
          </p:blipFill>
          <p:spPr>
            <a:xfrm>
              <a:off x="6317505" y="2300647"/>
              <a:ext cx="4858406" cy="1892205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AAD4D8C-9132-AD21-5FCA-10CF77A9D467}"/>
              </a:ext>
            </a:extLst>
          </p:cNvPr>
          <p:cNvGrpSpPr/>
          <p:nvPr/>
        </p:nvGrpSpPr>
        <p:grpSpPr>
          <a:xfrm>
            <a:off x="6460956" y="1665549"/>
            <a:ext cx="5376175" cy="1813799"/>
            <a:chOff x="438388" y="2168544"/>
            <a:chExt cx="7772162" cy="251604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94A6839-9440-3EFB-033B-8728788BF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11486" t="28195" r="11015" b="59978"/>
            <a:stretch>
              <a:fillRect/>
            </a:stretch>
          </p:blipFill>
          <p:spPr>
            <a:xfrm>
              <a:off x="438388" y="2168544"/>
              <a:ext cx="7772162" cy="696774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7AEFC4E8-E289-FFB8-00F2-4A3AAFC08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11486" t="47458" r="11015" b="21663"/>
            <a:stretch>
              <a:fillRect/>
            </a:stretch>
          </p:blipFill>
          <p:spPr>
            <a:xfrm>
              <a:off x="438388" y="2865318"/>
              <a:ext cx="7772162" cy="1819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899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84777-19C6-1066-AF54-6549D0DF0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F314AA-2CFA-85CC-1953-E81BBA9F2E90}"/>
              </a:ext>
            </a:extLst>
          </p:cNvPr>
          <p:cNvSpPr txBox="1">
            <a:spLocks/>
          </p:cNvSpPr>
          <p:nvPr/>
        </p:nvSpPr>
        <p:spPr>
          <a:xfrm>
            <a:off x="438388" y="616098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Conclusions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57EA2C-1083-7F1F-B7E5-5D5101AD40D2}"/>
              </a:ext>
            </a:extLst>
          </p:cNvPr>
          <p:cNvSpPr/>
          <p:nvPr/>
        </p:nvSpPr>
        <p:spPr>
          <a:xfrm>
            <a:off x="438388" y="1586302"/>
            <a:ext cx="9781937" cy="415498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indent="-457200" algn="l"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PWH have a high risk of weight gain and clinical obesity with the transition to TLD, these may further increase risk of CKM complications</a:t>
            </a:r>
          </a:p>
          <a:p>
            <a:pPr marL="914400" indent="-457200" algn="l">
              <a:buAutoNum type="arabicPeriod"/>
            </a:pPr>
            <a:endParaRPr lang="en-US" sz="24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marL="914400" indent="-457200" algn="l">
              <a:buAutoNum type="arabicPeriod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+mj-lt"/>
                <a:cs typeface="Arial" panose="020B0604020202020204" pitchFamily="34" charset="0"/>
              </a:rPr>
              <a:t>Emerging evidence is demonstrating th</a:t>
            </a:r>
            <a:r>
              <a:rPr lang="en-US" sz="2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e possible value of novel obesity management medications such as GLP-1 RAs in PWH but global access remains a challenge</a:t>
            </a:r>
          </a:p>
          <a:p>
            <a:pPr marL="914400" indent="-457200" algn="l">
              <a:buAutoNum type="arabicPeriod"/>
            </a:pPr>
            <a:endParaRPr lang="en-US" sz="2400" b="0" i="0" dirty="0">
              <a:solidFill>
                <a:srgbClr val="000000"/>
              </a:solidFill>
              <a:effectLst/>
              <a:latin typeface="+mj-lt"/>
              <a:cs typeface="Arial" panose="020B0604020202020204" pitchFamily="34" charset="0"/>
            </a:endParaRPr>
          </a:p>
          <a:p>
            <a:pPr marL="914400" indent="-457200" algn="l">
              <a:buAutoNum type="arabicPeriod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+mj-lt"/>
                <a:cs typeface="Arial" panose="020B0604020202020204" pitchFamily="34" charset="0"/>
              </a:rPr>
              <a:t>Early evidence in KZN suggests that patients are accepting of GLP-1 RAs and they have preliminary efficacy for metabolic endpoints but much more to learn.</a:t>
            </a:r>
            <a:endParaRPr lang="en-US" sz="2400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87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249177F-A06A-45FB-B00F-00720EA19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76F1A-996E-49D1-B112-57A6E7164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4C3B4B-612F-41A6-81E2-EF54C8107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3A97A-037A-4CD4-96C9-9571CA29B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9CC4E0-5002-4F42-967B-FB460144364D}"/>
              </a:ext>
            </a:extLst>
          </p:cNvPr>
          <p:cNvSpPr/>
          <p:nvPr/>
        </p:nvSpPr>
        <p:spPr>
          <a:xfrm>
            <a:off x="614865" y="1865915"/>
            <a:ext cx="10956022" cy="43931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Thank you to my [awesome</a:t>
            </a:r>
            <a:r>
              <a:rPr lang="en-US" sz="2400"/>
              <a:t>] collaborators/mentors: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AHRI CTU – Limakatso Lebina, Osee Behuhuma, Gugu Gasa, Anne Derache, Sfundo Khumalo, </a:t>
            </a:r>
            <a:r>
              <a:rPr lang="en-US" sz="2400" dirty="0" err="1"/>
              <a:t>Bhule</a:t>
            </a:r>
            <a:r>
              <a:rPr lang="en-US" sz="2400" dirty="0"/>
              <a:t> Nhlapo, Kristien Bird</a:t>
            </a:r>
          </a:p>
          <a:p>
            <a:pPr algn="ctr"/>
            <a:r>
              <a:rPr lang="en-US" sz="2400" dirty="0"/>
              <a:t>Paul Sax</a:t>
            </a:r>
          </a:p>
          <a:p>
            <a:pPr algn="ctr"/>
            <a:r>
              <a:rPr lang="en-US" sz="2400" dirty="0"/>
              <a:t>Mark Siedner</a:t>
            </a:r>
          </a:p>
          <a:p>
            <a:pPr algn="ctr"/>
            <a:r>
              <a:rPr lang="en-US" sz="2400" dirty="0"/>
              <a:t>Mohammed Ali</a:t>
            </a:r>
          </a:p>
          <a:p>
            <a:pPr algn="ctr"/>
            <a:r>
              <a:rPr lang="en-US" sz="2400" dirty="0"/>
              <a:t>Nomathemba Chandiwana</a:t>
            </a:r>
          </a:p>
          <a:p>
            <a:pPr algn="ctr"/>
            <a:r>
              <a:rPr lang="en-US" sz="2400" dirty="0"/>
              <a:t>Janet Lo</a:t>
            </a:r>
          </a:p>
          <a:p>
            <a:pPr algn="ctr"/>
            <a:r>
              <a:rPr lang="en-US" sz="2400" dirty="0"/>
              <a:t>Francois Venter</a:t>
            </a:r>
          </a:p>
          <a:p>
            <a:pPr algn="ctr"/>
            <a:br>
              <a:rPr lang="en-US" sz="2400" dirty="0"/>
            </a:br>
            <a:br>
              <a:rPr lang="en-US" sz="2400" dirty="0"/>
            </a:br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E5339C-526F-44EB-B1D2-F1E6A8846E8C}"/>
              </a:ext>
            </a:extLst>
          </p:cNvPr>
          <p:cNvSpPr/>
          <p:nvPr/>
        </p:nvSpPr>
        <p:spPr>
          <a:xfrm>
            <a:off x="440286" y="598974"/>
            <a:ext cx="11305180" cy="1422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elected references</a:t>
            </a:r>
            <a:endParaRPr lang="en-US" sz="24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3E05F6-B36D-9EF2-9677-9E0DA6DFA333}"/>
              </a:ext>
            </a:extLst>
          </p:cNvPr>
          <p:cNvSpPr txBox="1"/>
          <p:nvPr/>
        </p:nvSpPr>
        <p:spPr>
          <a:xfrm>
            <a:off x="486157" y="1267711"/>
            <a:ext cx="1131522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Lake JE, Kitch DW, Kantor A, </a:t>
            </a:r>
            <a:r>
              <a:rPr lang="en-US" sz="1400" dirty="0" err="1"/>
              <a:t>Muthupillai</a:t>
            </a:r>
            <a:r>
              <a:rPr lang="en-US" sz="1400" dirty="0"/>
              <a:t> R, Klingman KL, Vernon C, </a:t>
            </a:r>
            <a:r>
              <a:rPr lang="en-US" sz="1400" dirty="0" err="1"/>
              <a:t>Belaunzaran</a:t>
            </a:r>
            <a:r>
              <a:rPr lang="en-US" sz="1400" dirty="0"/>
              <a:t>-Zamudio PF, </a:t>
            </a:r>
            <a:r>
              <a:rPr lang="en-US" sz="1400" dirty="0" err="1"/>
              <a:t>Fichtenbaum</a:t>
            </a:r>
            <a:r>
              <a:rPr lang="en-US" sz="1400" dirty="0"/>
              <a:t> CJ, Heath S, Perazzo H, Corey K, Brown TT, Landay A, Sattler F, Erlandson KM. The Effect of Open-Label Semaglutide on Metabolic Dysfunction-Associated </a:t>
            </a:r>
            <a:r>
              <a:rPr lang="en-US" sz="1400" dirty="0" err="1"/>
              <a:t>Steatotic</a:t>
            </a:r>
            <a:r>
              <a:rPr lang="en-US" sz="1400" dirty="0"/>
              <a:t> Liver Disease in People With HIV. Ann Intern Med. 2024 Jun;177(6):835-838. </a:t>
            </a:r>
            <a:r>
              <a:rPr lang="en-US" sz="1400" dirty="0" err="1"/>
              <a:t>doi</a:t>
            </a:r>
            <a:r>
              <a:rPr lang="en-US" sz="1400" dirty="0"/>
              <a:t>: 10.7326/M23-3354. </a:t>
            </a:r>
            <a:r>
              <a:rPr lang="en-US" sz="1400" dirty="0" err="1"/>
              <a:t>Epub</a:t>
            </a:r>
            <a:r>
              <a:rPr lang="en-US" sz="1400" dirty="0"/>
              <a:t> 2024 Apr 30. PMID: 38684100; PMCID: PMC11210743.</a:t>
            </a:r>
          </a:p>
          <a:p>
            <a:endParaRPr lang="en-US" sz="1400" dirty="0"/>
          </a:p>
          <a:p>
            <a:r>
              <a:rPr lang="en-US" sz="1400" dirty="0"/>
              <a:t>Venter WDF, Moorhouse M, Sokhela S, Fairlie L, Mashabane N, Masenya M, Serenata C, </a:t>
            </a:r>
            <a:r>
              <a:rPr lang="en-US" sz="1400" dirty="0" err="1"/>
              <a:t>Akpomiemie</a:t>
            </a:r>
            <a:r>
              <a:rPr lang="en-US" sz="1400" dirty="0"/>
              <a:t> G, Qavi A, Chandiwana N, Norris S, </a:t>
            </a:r>
            <a:r>
              <a:rPr lang="en-US" sz="1400" dirty="0" err="1"/>
              <a:t>Chersich</a:t>
            </a:r>
            <a:r>
              <a:rPr lang="en-US" sz="1400" dirty="0"/>
              <a:t> M, Clayden P, Abrams E, Arulappan N, Vos A, McCann K, Simmons B, Hill A. Dolutegravir plus Two Different Prodrugs of Tenofovir to Treat HIV. N Engl J Med. 2019 Aug 29;381(9):803-815. </a:t>
            </a:r>
            <a:r>
              <a:rPr lang="en-US" sz="1400" dirty="0" err="1"/>
              <a:t>doi</a:t>
            </a:r>
            <a:r>
              <a:rPr lang="en-US" sz="1400" dirty="0"/>
              <a:t>: 10.1056/NEJMoa1902824. </a:t>
            </a:r>
            <a:r>
              <a:rPr lang="en-US" sz="1400" dirty="0" err="1"/>
              <a:t>Epub</a:t>
            </a:r>
            <a:r>
              <a:rPr lang="en-US" sz="1400" dirty="0"/>
              <a:t> 2019 Jul 24. PMID: 31339677.</a:t>
            </a:r>
          </a:p>
          <a:p>
            <a:endParaRPr lang="en-US" sz="1400" dirty="0">
              <a:solidFill>
                <a:srgbClr val="212121"/>
              </a:solidFill>
              <a:latin typeface="+mj-lt"/>
            </a:endParaRPr>
          </a:p>
          <a:p>
            <a:r>
              <a:rPr lang="en-US" sz="1400" dirty="0"/>
              <a:t>Manne-Goehler J, Franco J. Side effects of GLP-1 receptor agonists. BMJ. 2025 Aug 4;390:r1606. </a:t>
            </a:r>
            <a:r>
              <a:rPr lang="en-US" sz="1400" dirty="0" err="1"/>
              <a:t>doi</a:t>
            </a:r>
            <a:r>
              <a:rPr lang="en-US" sz="1400" dirty="0"/>
              <a:t>: 10.1136/bmj.r1606. PMID: 40759433.</a:t>
            </a:r>
          </a:p>
          <a:p>
            <a:endParaRPr lang="en-US" sz="1400" dirty="0">
              <a:solidFill>
                <a:srgbClr val="212121"/>
              </a:solidFill>
              <a:latin typeface="+mj-lt"/>
            </a:endParaRPr>
          </a:p>
          <a:p>
            <a:r>
              <a:rPr lang="en-US" sz="1400" dirty="0"/>
              <a:t>Sax PE, Erlandson KM, Lake JE, Mccomsey GA, Orkin C, Esser S, Brown TT, Rockstroh JK, Wei X, Carter CC, Zhong L, Brainard DM, Melbourne K, Das M, </a:t>
            </a:r>
            <a:r>
              <a:rPr lang="en-US" sz="1400" dirty="0" err="1"/>
              <a:t>Stellbrink</a:t>
            </a:r>
            <a:r>
              <a:rPr lang="en-US" sz="1400" dirty="0"/>
              <a:t> HJ, Post FA, Waters L, Koethe JR. Weight Gain Following Initiation of Antiretroviral Therapy: Risk Factors in Randomized Comparative Clinical Trials. Clin Infect Dis. 2020 Sep 12;71(6):1379-1389. </a:t>
            </a:r>
            <a:r>
              <a:rPr lang="en-US" sz="1400" dirty="0" err="1"/>
              <a:t>doi</a:t>
            </a:r>
            <a:r>
              <a:rPr lang="en-US" sz="1400" dirty="0"/>
              <a:t>: 10.1093/</a:t>
            </a:r>
            <a:r>
              <a:rPr lang="en-US" sz="1400" dirty="0" err="1"/>
              <a:t>cid</a:t>
            </a:r>
            <a:r>
              <a:rPr lang="en-US" sz="1400" dirty="0"/>
              <a:t>/ciz999. PMID: 31606734; PMCID: PMC7486849.</a:t>
            </a:r>
          </a:p>
          <a:p>
            <a:endParaRPr lang="en-US" sz="1400" b="0" i="0" dirty="0">
              <a:solidFill>
                <a:srgbClr val="212121"/>
              </a:solidFill>
              <a:effectLst/>
              <a:latin typeface="+mj-lt"/>
            </a:endParaRPr>
          </a:p>
          <a:p>
            <a:r>
              <a:rPr lang="en-US" sz="1400" dirty="0"/>
              <a:t>Eckard AR, Wu Q, Sattar A, Ansari-Gilani K, </a:t>
            </a:r>
            <a:r>
              <a:rPr lang="en-US" sz="1400" dirty="0" err="1"/>
              <a:t>Labbato</a:t>
            </a:r>
            <a:r>
              <a:rPr lang="en-US" sz="1400" dirty="0"/>
              <a:t> D, Foster T, Fletcher AA, Adekunle RO, McComsey GA. Once-weekly semaglutide in people with HIV-associated </a:t>
            </a:r>
            <a:r>
              <a:rPr lang="en-US" sz="1400" dirty="0" err="1"/>
              <a:t>lipohypertrophy</a:t>
            </a:r>
            <a:r>
              <a:rPr lang="en-US" sz="1400" dirty="0"/>
              <a:t>: a </a:t>
            </a:r>
            <a:r>
              <a:rPr lang="en-US" sz="1400" dirty="0" err="1"/>
              <a:t>randomised</a:t>
            </a:r>
            <a:r>
              <a:rPr lang="en-US" sz="1400" dirty="0"/>
              <a:t>, double-blind, placebo-controlled phase 2b single-</a:t>
            </a:r>
            <a:r>
              <a:rPr lang="en-US" sz="1400" dirty="0" err="1"/>
              <a:t>centre</a:t>
            </a:r>
            <a:r>
              <a:rPr lang="en-US" sz="1400" dirty="0"/>
              <a:t> clinical trial. Lancet Diabetes Endocrinol. 2024 Aug;12(8):523-534. </a:t>
            </a:r>
            <a:r>
              <a:rPr lang="en-US" sz="1400" dirty="0" err="1"/>
              <a:t>doi</a:t>
            </a:r>
            <a:r>
              <a:rPr lang="en-US" sz="1400" dirty="0"/>
              <a:t>: 10.1016/S2213-8587(24)00150-5. </a:t>
            </a:r>
            <a:r>
              <a:rPr lang="en-US" sz="1400" dirty="0" err="1"/>
              <a:t>Epub</a:t>
            </a:r>
            <a:r>
              <a:rPr lang="en-US" sz="1400" dirty="0"/>
              <a:t> 2024 Jul 1. Erratum in: Lancet Diabetes Endocrinol. 2025 Apr;13(4):e7. </a:t>
            </a:r>
            <a:r>
              <a:rPr lang="en-US" sz="1400" dirty="0" err="1"/>
              <a:t>doi</a:t>
            </a:r>
            <a:r>
              <a:rPr lang="en-US" sz="1400" dirty="0"/>
              <a:t>: 10.1016/S2213-8587(25)00051-8. PMID: 38964353; PMCID: PMC11417641.</a:t>
            </a:r>
          </a:p>
          <a:p>
            <a:endParaRPr lang="en-US" sz="1400" dirty="0">
              <a:solidFill>
                <a:srgbClr val="212121"/>
              </a:solidFill>
            </a:endParaRPr>
          </a:p>
          <a:p>
            <a:r>
              <a:rPr lang="en-US" sz="1400" dirty="0" err="1"/>
              <a:t>Migisha</a:t>
            </a:r>
            <a:r>
              <a:rPr lang="en-US" sz="1400" dirty="0"/>
              <a:t> R, Chen G, </a:t>
            </a:r>
            <a:r>
              <a:rPr lang="en-US" sz="1400" dirty="0" err="1"/>
              <a:t>Muyindike</a:t>
            </a:r>
            <a:r>
              <a:rPr lang="en-US" sz="1400" dirty="0"/>
              <a:t> WR, Aung TN, Nanfuka V, </a:t>
            </a:r>
            <a:r>
              <a:rPr lang="en-US" sz="1400" dirty="0" err="1"/>
              <a:t>Komukama</a:t>
            </a:r>
            <a:r>
              <a:rPr lang="en-US" sz="1400" dirty="0"/>
              <a:t> N, Chandiwana N, Shazi G, Tien D, Moosa MS, Gupta RK, Pillay D, Marconi VC, </a:t>
            </a:r>
            <a:r>
              <a:rPr lang="en-US" sz="1400" dirty="0" err="1"/>
              <a:t>Hedt</a:t>
            </a:r>
            <a:r>
              <a:rPr lang="en-US" sz="1400" dirty="0"/>
              <a:t>-Gauthier B, Venter WDF, Siedner MJ, McCluskey SM, Manne-Goehler J. Regional variation in weight change after the transition to dolutegravir in Uganda and South Africa. AIDS. 2024 Jul 15;38(9):1314-1322. </a:t>
            </a:r>
            <a:r>
              <a:rPr lang="en-US" sz="1400" dirty="0" err="1"/>
              <a:t>doi</a:t>
            </a:r>
            <a:r>
              <a:rPr lang="en-US" sz="1400" dirty="0"/>
              <a:t>: 10.1097/QAD.0000000000003888. </a:t>
            </a:r>
            <a:r>
              <a:rPr lang="en-US" sz="1400" dirty="0" err="1"/>
              <a:t>Epub</a:t>
            </a:r>
            <a:r>
              <a:rPr lang="en-US" sz="1400" dirty="0"/>
              <a:t> 2024 Mar 19. PMID: 38507584; PMCID: PMC11211050.</a:t>
            </a:r>
            <a:endParaRPr lang="en-US" sz="1400" b="0" i="0" dirty="0">
              <a:solidFill>
                <a:srgbClr val="21212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997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249177F-A06A-45FB-B00F-00720EA19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76F1A-996E-49D1-B112-57A6E7164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4C3B4B-612F-41A6-81E2-EF54C8107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3A97A-037A-4CD4-96C9-9571CA29B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9CC4E0-5002-4F42-967B-FB460144364D}"/>
              </a:ext>
            </a:extLst>
          </p:cNvPr>
          <p:cNvSpPr/>
          <p:nvPr/>
        </p:nvSpPr>
        <p:spPr>
          <a:xfrm>
            <a:off x="612396" y="2791437"/>
            <a:ext cx="10956022" cy="127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ppendix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E5339C-526F-44EB-B1D2-F1E6A8846E8C}"/>
              </a:ext>
            </a:extLst>
          </p:cNvPr>
          <p:cNvSpPr/>
          <p:nvPr/>
        </p:nvSpPr>
        <p:spPr>
          <a:xfrm>
            <a:off x="440286" y="598974"/>
            <a:ext cx="11305180" cy="1422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82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Clinical pearl regarding the diagnosis of diabetes in PWH…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590B8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634" y="6520121"/>
            <a:ext cx="7956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Baili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and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Koeth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,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Current HIV/AIDS Report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2022 and Manne-Goehler et al,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he Lancet Diabetes &amp; Endocrinolog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2016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57EA2C-1083-7F1F-B7E5-5D5101AD40D2}"/>
              </a:ext>
            </a:extLst>
          </p:cNvPr>
          <p:cNvSpPr/>
          <p:nvPr/>
        </p:nvSpPr>
        <p:spPr>
          <a:xfrm>
            <a:off x="739682" y="1617972"/>
            <a:ext cx="420421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HbA1c may underestimate glucose intolerance in PWH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Plasma fasting blood glucose i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he preferred test for diabetes in people with HIV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Harder to obtain in clinical practi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F477F6-5865-FF46-D1AA-410666CED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4841" y="1501411"/>
            <a:ext cx="6070755" cy="408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66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066"/>
    </mc:Choice>
    <mc:Fallback xmlns="">
      <p:transition spd="slow" advTm="55066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249177F-A06A-45FB-B00F-00720EA19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76F1A-996E-49D1-B112-57A6E7164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4C3B4B-612F-41A6-81E2-EF54C8107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3A97A-037A-4CD4-96C9-9571CA29B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9CC4E0-5002-4F42-967B-FB460144364D}"/>
              </a:ext>
            </a:extLst>
          </p:cNvPr>
          <p:cNvSpPr/>
          <p:nvPr/>
        </p:nvSpPr>
        <p:spPr>
          <a:xfrm>
            <a:off x="612396" y="2791437"/>
            <a:ext cx="10956022" cy="127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  <a:p>
            <a:pPr lvl="0" algn="ctr"/>
            <a:r>
              <a:rPr lang="en-US" sz="2400" dirty="0"/>
              <a:t>Treating obesity &amp; preventing T2D in PLWH on modern ART</a:t>
            </a:r>
          </a:p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E5339C-526F-44EB-B1D2-F1E6A8846E8C}"/>
              </a:ext>
            </a:extLst>
          </p:cNvPr>
          <p:cNvSpPr/>
          <p:nvPr/>
        </p:nvSpPr>
        <p:spPr>
          <a:xfrm>
            <a:off x="440286" y="598974"/>
            <a:ext cx="11305180" cy="1422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51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Metformin use in PWH on DTG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590B8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634" y="6520121"/>
            <a:ext cx="7956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Song et al, JAIDS 2016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AEBEE726-4F2B-1563-EED2-0B69703FAF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407" y="1363625"/>
            <a:ext cx="4000500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10665A4-85C5-DE25-B759-BE01C33BE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180458"/>
              </p:ext>
            </p:extLst>
          </p:nvPr>
        </p:nvGraphicFramePr>
        <p:xfrm>
          <a:off x="438388" y="1363625"/>
          <a:ext cx="6680110" cy="4650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56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244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6575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DT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6466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y</a:t>
                      </a:r>
                      <a:r>
                        <a:rPr lang="en-US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sign</a:t>
                      </a:r>
                      <a:endParaRPr 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-label, parallel-group, multi-dose, 3-period crossover study in healthy adults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652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chanis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tly explained by OCT2 inhib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3863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harmacokinetics</a:t>
                      </a:r>
                    </a:p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tformi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TG 50 mg Q12H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Symbol"/>
                        </a:rPr>
                        <a:t>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C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Symbol"/>
                        </a:rPr>
                        <a:t> 145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 &amp; </a:t>
                      </a:r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max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Symbol"/>
                        </a:rPr>
                        <a:t>111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718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der metformin dose adjustment if starting/stopping DTG</a:t>
                      </a:r>
                    </a:p>
                    <a:p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oid metformin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gt;1000mg per day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896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066"/>
    </mc:Choice>
    <mc:Fallback xmlns="">
      <p:transition spd="slow" advTm="55066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Strategy #1: lifestyle change…is complicated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The Guardian</a:t>
            </a:r>
            <a:endParaRPr lang="en-US" sz="1000" i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A5B6CE-0E19-F9B7-BA5A-93E386DB434C}"/>
              </a:ext>
            </a:extLst>
          </p:cNvPr>
          <p:cNvSpPr txBox="1"/>
          <p:nvPr/>
        </p:nvSpPr>
        <p:spPr>
          <a:xfrm>
            <a:off x="438388" y="1520170"/>
            <a:ext cx="4346263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200" dirty="0">
                <a:latin typeface="+mj-lt"/>
              </a:rPr>
              <a:t>DIET and EXERCISE important for health but do </a:t>
            </a:r>
            <a:r>
              <a:rPr lang="en-US" sz="2200" dirty="0">
                <a:solidFill>
                  <a:srgbClr val="FF0000"/>
                </a:solidFill>
                <a:latin typeface="+mj-lt"/>
              </a:rPr>
              <a:t>not</a:t>
            </a:r>
            <a:r>
              <a:rPr lang="en-US" sz="2200" dirty="0">
                <a:latin typeface="+mj-lt"/>
              </a:rPr>
              <a:t> often lead to  sustained weight loss!</a:t>
            </a:r>
          </a:p>
          <a:p>
            <a:pPr algn="l"/>
            <a:endParaRPr lang="en-US" sz="2200" dirty="0">
              <a:latin typeface="+mj-lt"/>
            </a:endParaRPr>
          </a:p>
          <a:p>
            <a:pPr algn="l"/>
            <a:r>
              <a:rPr lang="en-US" sz="2200" dirty="0">
                <a:latin typeface="+mj-lt"/>
              </a:rPr>
              <a:t>Obesity driven by modern food environment, social determinants of health, genetics, etc.</a:t>
            </a:r>
          </a:p>
          <a:p>
            <a:pPr algn="l"/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Obesity is a highly stigmatized condition by both public and health workers…</a:t>
            </a:r>
          </a:p>
          <a:p>
            <a:pPr algn="l"/>
            <a:endParaRPr lang="en-US" sz="1800" dirty="0"/>
          </a:p>
        </p:txBody>
      </p:sp>
      <p:pic>
        <p:nvPicPr>
          <p:cNvPr id="1026" name="Picture 2" descr="Good enough to eat? The toxic truth about modern food | Books | The Guardian">
            <a:extLst>
              <a:ext uri="{FF2B5EF4-FFF2-40B4-BE49-F238E27FC236}">
                <a16:creationId xmlns:a16="http://schemas.microsoft.com/office/drawing/2014/main" id="{B8D46221-9CAF-7184-1A16-3852EB927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980" y="1255058"/>
            <a:ext cx="3925344" cy="235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s Food Addiction Real?">
            <a:extLst>
              <a:ext uri="{FF2B5EF4-FFF2-40B4-BE49-F238E27FC236}">
                <a16:creationId xmlns:a16="http://schemas.microsoft.com/office/drawing/2014/main" id="{5D2BF5DD-508E-3137-9FB1-916472B7C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821" y="3653391"/>
            <a:ext cx="3446831" cy="2581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974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Strategy #1: lifestyle change…is complicated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NIDDK, DPP Research Group 2009</a:t>
            </a:r>
            <a:endParaRPr lang="en-US" sz="1000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DD89A4-D272-1CDC-7CDB-45A038396D6E}"/>
              </a:ext>
            </a:extLst>
          </p:cNvPr>
          <p:cNvSpPr txBox="1"/>
          <p:nvPr/>
        </p:nvSpPr>
        <p:spPr>
          <a:xfrm>
            <a:off x="980888" y="1570339"/>
            <a:ext cx="3149861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200" b="1" dirty="0"/>
              <a:t>10 years after the Diabetes Prevention Program (DPP):</a:t>
            </a:r>
          </a:p>
          <a:p>
            <a:pPr algn="l"/>
            <a:endParaRPr lang="en-US" sz="2200" dirty="0"/>
          </a:p>
          <a:p>
            <a:pPr algn="l"/>
            <a:r>
              <a:rPr lang="en-US" sz="2200" dirty="0"/>
              <a:t>#1 – Participants in lifestyle change program had an average delay in diabetes onset of 4 years</a:t>
            </a:r>
          </a:p>
          <a:p>
            <a:pPr algn="l"/>
            <a:endParaRPr lang="en-US" sz="2200" dirty="0"/>
          </a:p>
          <a:p>
            <a:pPr algn="l"/>
            <a:r>
              <a:rPr lang="en-US" sz="2200" dirty="0"/>
              <a:t>#2 – People who took metformin had a delay of about 2 years</a:t>
            </a:r>
          </a:p>
          <a:p>
            <a:pPr algn="l"/>
            <a:endParaRPr lang="en-US" sz="1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927D94-76B9-592A-59CA-C3BEB7D8D0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3444" y="1315577"/>
            <a:ext cx="6518436" cy="3795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DFB3A7-C147-EBAC-C2E0-3594D3FA6B52}"/>
              </a:ext>
            </a:extLst>
          </p:cNvPr>
          <p:cNvSpPr txBox="1"/>
          <p:nvPr/>
        </p:nvSpPr>
        <p:spPr>
          <a:xfrm>
            <a:off x="5077094" y="5012323"/>
            <a:ext cx="63911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i="1" dirty="0">
                <a:solidFill>
                  <a:srgbClr val="000000"/>
                </a:solidFill>
                <a:latin typeface="+mj-lt"/>
              </a:rPr>
              <a:t>DPP objective: to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</a:rPr>
              <a:t>prevent or delay the onset of  </a:t>
            </a:r>
            <a:r>
              <a:rPr lang="en-US" sz="2400" i="1" dirty="0">
                <a:solidFill>
                  <a:srgbClr val="000000"/>
                </a:solidFill>
                <a:latin typeface="+mj-lt"/>
              </a:rPr>
              <a:t>T2DM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</a:rPr>
              <a:t>with proven, achievable interventions including lifestyle </a:t>
            </a:r>
            <a:r>
              <a:rPr lang="en-US" sz="2400" i="1" dirty="0">
                <a:solidFill>
                  <a:srgbClr val="000000"/>
                </a:solidFill>
                <a:latin typeface="+mj-lt"/>
              </a:rPr>
              <a:t>change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</a:rPr>
              <a:t>– especially in people at greatest risk</a:t>
            </a:r>
            <a:endParaRPr lang="en-US" sz="24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5873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Obesity &amp; type 2 diabetes growing health threats for PWH globally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Venter et al, </a:t>
            </a:r>
            <a:r>
              <a:rPr lang="en-US" sz="1000" i="1" dirty="0"/>
              <a:t>NEJM </a:t>
            </a:r>
            <a:r>
              <a:rPr lang="en-US" sz="1000" dirty="0"/>
              <a:t>2019</a:t>
            </a:r>
            <a:endParaRPr lang="en-US" sz="1000" i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0583C7-839D-EAB5-9062-AB9870F1AE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6825" y="1520170"/>
            <a:ext cx="9087287" cy="43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30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Obesity and diabetes in PWH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8DBE9D-5D4E-3CF5-FDC7-4600B6F8456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25508" y="1478391"/>
            <a:ext cx="4438195" cy="51937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/>
            <a:r>
              <a:rPr lang="en-US" sz="2400" b="1" dirty="0"/>
              <a:t>General risk facto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0498F4-EAEF-908E-5A61-BEE4D78394B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45390" y="1478391"/>
            <a:ext cx="4380907" cy="51937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/>
            <a:r>
              <a:rPr lang="en-US" sz="2400" b="1" dirty="0"/>
              <a:t>HIV-specific risk facto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F712BB-10FD-8CF8-544A-393535097753}"/>
              </a:ext>
            </a:extLst>
          </p:cNvPr>
          <p:cNvSpPr/>
          <p:nvPr/>
        </p:nvSpPr>
        <p:spPr>
          <a:xfrm>
            <a:off x="1135439" y="2071839"/>
            <a:ext cx="4428264" cy="405421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A385A7-3FB4-45DA-ECEF-14AAA61157AA}"/>
              </a:ext>
            </a:extLst>
          </p:cNvPr>
          <p:cNvSpPr/>
          <p:nvPr/>
        </p:nvSpPr>
        <p:spPr>
          <a:xfrm>
            <a:off x="5945390" y="2071839"/>
            <a:ext cx="4428264" cy="405421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CBFCA2-1988-1D7B-65D0-1A1FA2DF68FF}"/>
              </a:ext>
            </a:extLst>
          </p:cNvPr>
          <p:cNvSpPr txBox="1"/>
          <p:nvPr/>
        </p:nvSpPr>
        <p:spPr>
          <a:xfrm>
            <a:off x="1373356" y="2271824"/>
            <a:ext cx="382819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Higher BMI</a:t>
            </a:r>
          </a:p>
          <a:p>
            <a:endParaRPr lang="en-US" sz="2200" b="1" dirty="0"/>
          </a:p>
          <a:p>
            <a:r>
              <a:rPr lang="en-US" sz="2200" b="1" dirty="0"/>
              <a:t>Older age</a:t>
            </a:r>
          </a:p>
          <a:p>
            <a:endParaRPr lang="en-US" sz="2200" b="1" dirty="0"/>
          </a:p>
          <a:p>
            <a:r>
              <a:rPr lang="en-US" sz="2200" b="1" dirty="0"/>
              <a:t>Central obesity</a:t>
            </a:r>
          </a:p>
          <a:p>
            <a:endParaRPr lang="en-US" sz="2200" b="1" dirty="0"/>
          </a:p>
          <a:p>
            <a:r>
              <a:rPr lang="en-US" sz="2200" b="1" dirty="0"/>
              <a:t>Family history</a:t>
            </a:r>
          </a:p>
          <a:p>
            <a:endParaRPr lang="en-US" sz="2200" b="1" dirty="0"/>
          </a:p>
          <a:p>
            <a:r>
              <a:rPr lang="en-US" sz="2200" b="1" dirty="0"/>
              <a:t>Social inequality</a:t>
            </a:r>
            <a:endParaRPr lang="en-US" sz="2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3CED1A-B6A1-82C6-F58D-974F40D71745}"/>
              </a:ext>
            </a:extLst>
          </p:cNvPr>
          <p:cNvSpPr txBox="1"/>
          <p:nvPr/>
        </p:nvSpPr>
        <p:spPr>
          <a:xfrm>
            <a:off x="6206093" y="2271824"/>
            <a:ext cx="4048399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Exposure to older ART regimens/lipoatrophy</a:t>
            </a:r>
          </a:p>
          <a:p>
            <a:r>
              <a:rPr lang="en-US" sz="1400" i="1" dirty="0"/>
              <a:t>Stavudine, indinavir, zidovudine, </a:t>
            </a:r>
            <a:r>
              <a:rPr lang="en-US" sz="1400" i="1" dirty="0" err="1"/>
              <a:t>didanosine</a:t>
            </a:r>
            <a:r>
              <a:rPr lang="en-US" sz="1400" i="1" dirty="0"/>
              <a:t>, ritonavir</a:t>
            </a:r>
          </a:p>
          <a:p>
            <a:endParaRPr lang="en-US" sz="2200" b="1" dirty="0"/>
          </a:p>
          <a:p>
            <a:r>
              <a:rPr lang="en-US" sz="2200" b="1" dirty="0"/>
              <a:t>Elevated systemic inflammation</a:t>
            </a:r>
          </a:p>
          <a:p>
            <a:endParaRPr lang="en-US" sz="2200" b="1" dirty="0"/>
          </a:p>
          <a:p>
            <a:r>
              <a:rPr lang="en-US" sz="2200" b="1" dirty="0"/>
              <a:t>Possible persistent adaptive immune activation </a:t>
            </a:r>
          </a:p>
          <a:p>
            <a:endParaRPr lang="en-US" sz="2200" b="1" dirty="0"/>
          </a:p>
          <a:p>
            <a:r>
              <a:rPr lang="en-US" sz="2200" b="1" dirty="0"/>
              <a:t>Current ART regimens…?</a:t>
            </a:r>
          </a:p>
          <a:p>
            <a:endParaRPr lang="en-US" sz="2200" b="1" dirty="0"/>
          </a:p>
          <a:p>
            <a:endParaRPr lang="en-US" sz="22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CFD7D-9C9E-8656-A531-A2CBD2457FCB}"/>
              </a:ext>
            </a:extLst>
          </p:cNvPr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 err="1"/>
              <a:t>Bailin</a:t>
            </a:r>
            <a:r>
              <a:rPr lang="en-US" sz="1000" dirty="0"/>
              <a:t> and </a:t>
            </a:r>
            <a:r>
              <a:rPr lang="en-US" sz="1000" dirty="0" err="1"/>
              <a:t>Koethe</a:t>
            </a:r>
            <a:r>
              <a:rPr lang="en-US" sz="1000" dirty="0"/>
              <a:t>, </a:t>
            </a:r>
            <a:r>
              <a:rPr lang="en-US" sz="1000" i="1" dirty="0"/>
              <a:t>Current HIV/AIDS Reports </a:t>
            </a:r>
            <a:r>
              <a:rPr lang="en-US" sz="1000" dirty="0"/>
              <a:t>2022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0589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Obesity and CKM health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Manne-Goehler et al, 2025 PLOS Medicine</a:t>
            </a:r>
            <a:endParaRPr lang="en-US" sz="1000" i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8CFF56-D5D4-8F7C-C5F7-7BC126002811}"/>
              </a:ext>
            </a:extLst>
          </p:cNvPr>
          <p:cNvSpPr/>
          <p:nvPr/>
        </p:nvSpPr>
        <p:spPr>
          <a:xfrm>
            <a:off x="6241312" y="1278624"/>
            <a:ext cx="207335" cy="3162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9DFBBD-504C-5EB8-9EA4-F66664D49123}"/>
              </a:ext>
            </a:extLst>
          </p:cNvPr>
          <p:cNvSpPr/>
          <p:nvPr/>
        </p:nvSpPr>
        <p:spPr>
          <a:xfrm>
            <a:off x="6263241" y="4354794"/>
            <a:ext cx="207335" cy="3162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7BB327-AA50-7F25-AC07-65DAB31016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160" y="1139990"/>
            <a:ext cx="10195680" cy="516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066"/>
    </mc:Choice>
    <mc:Fallback xmlns="">
      <p:transition spd="slow" advTm="55066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ECC2114E-5D01-40C3-A362-C0FECD1A4309}"/>
              </a:ext>
            </a:extLst>
          </p:cNvPr>
          <p:cNvSpPr txBox="1">
            <a:spLocks/>
          </p:cNvSpPr>
          <p:nvPr/>
        </p:nvSpPr>
        <p:spPr>
          <a:xfrm>
            <a:off x="438388" y="549966"/>
            <a:ext cx="11410762" cy="9702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CKM health risks with weight gain on ART</a:t>
            </a:r>
            <a:endParaRPr lang="en-US" sz="3200" dirty="0">
              <a:solidFill>
                <a:srgbClr val="4590B8"/>
              </a:solidFill>
            </a:endParaRPr>
          </a:p>
          <a:p>
            <a:endParaRPr lang="en-US" sz="2900" dirty="0"/>
          </a:p>
        </p:txBody>
      </p:sp>
      <p:sp>
        <p:nvSpPr>
          <p:cNvPr id="27" name="Rectangle 26"/>
          <p:cNvSpPr/>
          <p:nvPr/>
        </p:nvSpPr>
        <p:spPr>
          <a:xfrm>
            <a:off x="8640219" y="2342617"/>
            <a:ext cx="212978" cy="18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8635" y="6520121"/>
            <a:ext cx="3924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Bares et al, </a:t>
            </a:r>
            <a:r>
              <a:rPr lang="en-US" sz="1000" i="1" dirty="0"/>
              <a:t>CID</a:t>
            </a:r>
            <a:r>
              <a:rPr lang="en-US" sz="1000" dirty="0"/>
              <a:t> 2024</a:t>
            </a:r>
            <a:endParaRPr lang="en-US" sz="1000" i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57EA2C-1083-7F1F-B7E5-5D5101AD40D2}"/>
              </a:ext>
            </a:extLst>
          </p:cNvPr>
          <p:cNvSpPr/>
          <p:nvPr/>
        </p:nvSpPr>
        <p:spPr>
          <a:xfrm>
            <a:off x="7829550" y="1323373"/>
            <a:ext cx="4027992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200" b="1" dirty="0"/>
              <a:t>2,624 PLWH in ACTG trials</a:t>
            </a:r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81% men, 60% non-white</a:t>
            </a:r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If ≥10% gain over 48 weeks:</a:t>
            </a:r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2X risk of new diabetes</a:t>
            </a:r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2.2X risk of new </a:t>
            </a:r>
            <a:r>
              <a:rPr lang="en-US" sz="2200" b="1" dirty="0" err="1"/>
              <a:t>MetS</a:t>
            </a:r>
            <a:endParaRPr lang="en-US" sz="2200" b="1" dirty="0"/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1.5X risk of CMD events</a:t>
            </a:r>
          </a:p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Over a 10-year horizon…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" r="5659"/>
          <a:stretch/>
        </p:blipFill>
        <p:spPr bwMode="auto">
          <a:xfrm>
            <a:off x="190738" y="1520170"/>
            <a:ext cx="7286387" cy="3949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494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249177F-A06A-45FB-B00F-00720EA19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76F1A-996E-49D1-B112-57A6E7164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4C3B4B-612F-41A6-81E2-EF54C8107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3A97A-037A-4CD4-96C9-9571CA29B9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9CC4E0-5002-4F42-967B-FB460144364D}"/>
              </a:ext>
            </a:extLst>
          </p:cNvPr>
          <p:cNvSpPr/>
          <p:nvPr/>
        </p:nvSpPr>
        <p:spPr>
          <a:xfrm>
            <a:off x="612396" y="2791437"/>
            <a:ext cx="10956022" cy="127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  <a:p>
            <a:pPr lvl="0" algn="ctr"/>
            <a:r>
              <a:rPr lang="en-US" sz="2400" dirty="0"/>
              <a:t>Liraglutide for Obesity in HIV – a trial in KZN</a:t>
            </a:r>
          </a:p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E5339C-526F-44EB-B1D2-F1E6A8846E8C}"/>
              </a:ext>
            </a:extLst>
          </p:cNvPr>
          <p:cNvSpPr/>
          <p:nvPr/>
        </p:nvSpPr>
        <p:spPr>
          <a:xfrm>
            <a:off x="440286" y="598974"/>
            <a:ext cx="11305180" cy="1422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26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8000"/>
    </mc:Choice>
    <mc:Fallback xmlns="">
      <p:transition spd="slow" advTm="8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uQz2eQkSTb4cE7SyF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z7i_J0f0Cihge3Z0TUBQ"/>
</p:tagLst>
</file>

<file path=ppt/theme/theme1.xml><?xml version="1.0" encoding="utf-8"?>
<a:theme xmlns:a="http://schemas.openxmlformats.org/drawingml/2006/main" name="Dividend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1A3260"/>
      </a:accent1>
      <a:accent2>
        <a:srgbClr val="4590B8"/>
      </a:accent2>
      <a:accent3>
        <a:srgbClr val="45CBE8"/>
      </a:accent3>
      <a:accent4>
        <a:srgbClr val="969FA7"/>
      </a:accent4>
      <a:accent5>
        <a:srgbClr val="A2C777"/>
      </a:accent5>
      <a:accent6>
        <a:srgbClr val="42955F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66F1C100-1D2B-4BEA-AD01-C4F230B3B9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4179</TotalTime>
  <Words>2731</Words>
  <Application>Microsoft Office PowerPoint</Application>
  <PresentationFormat>Widescreen</PresentationFormat>
  <Paragraphs>394</Paragraphs>
  <Slides>42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3" baseType="lpstr">
      <vt:lpstr>Aptos</vt:lpstr>
      <vt:lpstr>Aptos Narrow</vt:lpstr>
      <vt:lpstr>Arial</vt:lpstr>
      <vt:lpstr>Bahnschrift</vt:lpstr>
      <vt:lpstr>Calibri</vt:lpstr>
      <vt:lpstr>Gill Sans MT</vt:lpstr>
      <vt:lpstr>Symbol</vt:lpstr>
      <vt:lpstr>Times New Roman</vt:lpstr>
      <vt:lpstr>Wingdings 2</vt:lpstr>
      <vt:lpstr>Dividend</vt:lpstr>
      <vt:lpstr>think-cell Slide</vt:lpstr>
      <vt:lpstr>TREATING OBESITY &amp; preventing T2D in PWH Lessons from a clinical trial of GLP-1 RAs in SOUTH AFRICA</vt:lpstr>
      <vt:lpstr>PowerPoint Presentation</vt:lpstr>
      <vt:lpstr>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LP-1 receptor AGONIST CLASS </vt:lpstr>
      <vt:lpstr>Liraglutide for Obesity in HIV (LIROH), NCT06438146</vt:lpstr>
      <vt:lpstr>LIROH Study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CTG 5371 SLIM LIVER STUDY</vt:lpstr>
      <vt:lpstr>PowerPoint Presentation</vt:lpstr>
      <vt:lpstr>Semaglutide effects in hiv-associated lipohypertrophy</vt:lpstr>
      <vt:lpstr>Semaglutide effects in hiv-associated lipohypertroph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ctor of machine learning, scientific projects</dc:title>
  <dc:creator>Tiffany Willyerd</dc:creator>
  <cp:lastModifiedBy>Manne-Goehler, Jennifer M.,MD, SCD</cp:lastModifiedBy>
  <cp:revision>510</cp:revision>
  <dcterms:created xsi:type="dcterms:W3CDTF">2021-01-28T15:25:50Z</dcterms:created>
  <dcterms:modified xsi:type="dcterms:W3CDTF">2025-11-04T04:09:41Z</dcterms:modified>
</cp:coreProperties>
</file>